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1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2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</p:sldMasterIdLst>
  <p:notesMasterIdLst>
    <p:notesMasterId r:id="rId30"/>
  </p:notesMasterIdLst>
  <p:handoutMasterIdLst>
    <p:handoutMasterId r:id="rId31"/>
  </p:handoutMasterIdLst>
  <p:sldIdLst>
    <p:sldId id="279" r:id="rId2"/>
    <p:sldId id="2142533493" r:id="rId3"/>
    <p:sldId id="2142533706" r:id="rId4"/>
    <p:sldId id="2142533469" r:id="rId5"/>
    <p:sldId id="2142533494" r:id="rId6"/>
    <p:sldId id="2142533384" r:id="rId7"/>
    <p:sldId id="2142533391" r:id="rId8"/>
    <p:sldId id="2142533390" r:id="rId9"/>
    <p:sldId id="2142533496" r:id="rId10"/>
    <p:sldId id="2142533497" r:id="rId11"/>
    <p:sldId id="2142533704" r:id="rId12"/>
    <p:sldId id="2142533689" r:id="rId13"/>
    <p:sldId id="2142533690" r:id="rId14"/>
    <p:sldId id="2142533691" r:id="rId15"/>
    <p:sldId id="2142533692" r:id="rId16"/>
    <p:sldId id="2142533693" r:id="rId17"/>
    <p:sldId id="2142533694" r:id="rId18"/>
    <p:sldId id="2142533705" r:id="rId19"/>
    <p:sldId id="2142533695" r:id="rId20"/>
    <p:sldId id="2142533696" r:id="rId21"/>
    <p:sldId id="2142533697" r:id="rId22"/>
    <p:sldId id="2142533699" r:id="rId23"/>
    <p:sldId id="2142533698" r:id="rId24"/>
    <p:sldId id="2142533700" r:id="rId25"/>
    <p:sldId id="2142533701" r:id="rId26"/>
    <p:sldId id="2142533702" r:id="rId27"/>
    <p:sldId id="2142533703" r:id="rId28"/>
    <p:sldId id="316" r:id="rId29"/>
  </p:sldIdLst>
  <p:sldSz cx="12192000" cy="6858000"/>
  <p:notesSz cx="6950075" cy="9236075"/>
  <p:custShowLst>
    <p:custShow name="Format Guide Workshop" id="0">
      <p:sldLst/>
    </p:custShow>
  </p:custShowLst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161"/>
    <a:srgbClr val="FF4343"/>
    <a:srgbClr val="FF0000"/>
    <a:srgbClr val="FFFF00"/>
    <a:srgbClr val="DBD600"/>
    <a:srgbClr val="BFBF00"/>
    <a:srgbClr val="A7EFCD"/>
    <a:srgbClr val="7CE8B5"/>
    <a:srgbClr val="31DB89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24" autoAdjust="0"/>
    <p:restoredTop sz="93792" autoAdjust="0"/>
  </p:normalViewPr>
  <p:slideViewPr>
    <p:cSldViewPr snapToGrid="0">
      <p:cViewPr>
        <p:scale>
          <a:sx n="114" d="100"/>
          <a:sy n="114" d="100"/>
        </p:scale>
        <p:origin x="210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4/30/2021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4/30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dirty="0">
                <a:sym typeface="+mn-lt"/>
              </a:rPr>
              <a:t>Notes view: </a:t>
            </a:r>
            <a:fld id="{128CEAFE-FA94-43E5-B0FF-D47E1CCDD1B4}" type="slidenum">
              <a:rPr lang="en-US" smtClean="0">
                <a:sym typeface="+mn-lt"/>
              </a:rPr>
              <a:pPr/>
              <a:t>1</a:t>
            </a:fld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3796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321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23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5.xml"/><Relationship Id="rId7" Type="http://schemas.openxmlformats.org/officeDocument/2006/relationships/image" Target="../media/image8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8.xml"/><Relationship Id="rId7" Type="http://schemas.openxmlformats.org/officeDocument/2006/relationships/image" Target="../media/image8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31.xml"/><Relationship Id="rId7" Type="http://schemas.openxmlformats.org/officeDocument/2006/relationships/image" Target="../media/image8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Relationship Id="rId9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34.xml"/><Relationship Id="rId7" Type="http://schemas.openxmlformats.org/officeDocument/2006/relationships/image" Target="../media/image8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Relationship Id="rId9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10.sv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9.png"/><Relationship Id="rId4" Type="http://schemas.openxmlformats.org/officeDocument/2006/relationships/tags" Target="../tags/tag38.xml"/><Relationship Id="rId9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40.xml"/><Relationship Id="rId7" Type="http://schemas.openxmlformats.org/officeDocument/2006/relationships/image" Target="../media/image8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Relationship Id="rId9" Type="http://schemas.openxmlformats.org/officeDocument/2006/relationships/image" Target="../media/image12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43.xml"/><Relationship Id="rId7" Type="http://schemas.openxmlformats.org/officeDocument/2006/relationships/image" Target="../media/image8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Relationship Id="rId9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46.xml"/><Relationship Id="rId7" Type="http://schemas.openxmlformats.org/officeDocument/2006/relationships/image" Target="../media/image8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Relationship Id="rId9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9.xml"/><Relationship Id="rId7" Type="http://schemas.openxmlformats.org/officeDocument/2006/relationships/oleObject" Target="../embeddings/oleObject20.bin"/><Relationship Id="rId12" Type="http://schemas.openxmlformats.org/officeDocument/2006/relationships/image" Target="../media/image10.svg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9.png"/><Relationship Id="rId5" Type="http://schemas.openxmlformats.org/officeDocument/2006/relationships/tags" Target="../tags/tag51.xml"/><Relationship Id="rId10" Type="http://schemas.openxmlformats.org/officeDocument/2006/relationships/image" Target="../media/image14.png"/><Relationship Id="rId4" Type="http://schemas.openxmlformats.org/officeDocument/2006/relationships/tags" Target="../tags/tag50.xml"/><Relationship Id="rId9" Type="http://schemas.openxmlformats.org/officeDocument/2006/relationships/image" Target="../media/image11.jpeg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53.xml"/><Relationship Id="rId7" Type="http://schemas.openxmlformats.org/officeDocument/2006/relationships/image" Target="../media/image15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Relationship Id="rId9" Type="http://schemas.openxmlformats.org/officeDocument/2006/relationships/image" Target="../media/image16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6.xml"/><Relationship Id="rId7" Type="http://schemas.openxmlformats.org/officeDocument/2006/relationships/image" Target="../media/image8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14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1.jpeg"/><Relationship Id="rId4" Type="http://schemas.openxmlformats.org/officeDocument/2006/relationships/tags" Target="../tags/tag57.xml"/><Relationship Id="rId9" Type="http://schemas.openxmlformats.org/officeDocument/2006/relationships/image" Target="../media/image10.sv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59.xml"/><Relationship Id="rId7" Type="http://schemas.openxmlformats.org/officeDocument/2006/relationships/image" Target="../media/image8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62.xml"/><Relationship Id="rId7" Type="http://schemas.openxmlformats.org/officeDocument/2006/relationships/image" Target="../media/image8.emf"/><Relationship Id="rId2" Type="http://schemas.openxmlformats.org/officeDocument/2006/relationships/tags" Target="../tags/tag61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65.xml"/><Relationship Id="rId7" Type="http://schemas.openxmlformats.org/officeDocument/2006/relationships/image" Target="../media/image8.emf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Relationship Id="rId9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8.xml"/><Relationship Id="rId7" Type="http://schemas.openxmlformats.org/officeDocument/2006/relationships/image" Target="../media/image8.emf"/><Relationship Id="rId2" Type="http://schemas.openxmlformats.org/officeDocument/2006/relationships/tags" Target="../tags/tag6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Relationship Id="rId9" Type="http://schemas.openxmlformats.org/officeDocument/2006/relationships/image" Target="../media/image11.jpe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71.xml"/><Relationship Id="rId7" Type="http://schemas.openxmlformats.org/officeDocument/2006/relationships/image" Target="../media/image8.emf"/><Relationship Id="rId2" Type="http://schemas.openxmlformats.org/officeDocument/2006/relationships/tags" Target="../tags/tag7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74.xml"/><Relationship Id="rId7" Type="http://schemas.openxmlformats.org/officeDocument/2006/relationships/image" Target="../media/image9.png"/><Relationship Id="rId2" Type="http://schemas.openxmlformats.org/officeDocument/2006/relationships/tags" Target="../tags/tag7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76.xml"/><Relationship Id="rId7" Type="http://schemas.openxmlformats.org/officeDocument/2006/relationships/image" Target="../media/image11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7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7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1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8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83.xml"/><Relationship Id="rId7" Type="http://schemas.openxmlformats.org/officeDocument/2006/relationships/image" Target="../media/image3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85.xml"/><Relationship Id="rId7" Type="http://schemas.openxmlformats.org/officeDocument/2006/relationships/image" Target="../media/image3.jpeg"/><Relationship Id="rId2" Type="http://schemas.openxmlformats.org/officeDocument/2006/relationships/tags" Target="../tags/tag8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7.xml"/><Relationship Id="rId7" Type="http://schemas.openxmlformats.org/officeDocument/2006/relationships/image" Target="../media/image5.jpeg"/><Relationship Id="rId2" Type="http://schemas.openxmlformats.org/officeDocument/2006/relationships/tags" Target="../tags/tag8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9.xml"/><Relationship Id="rId7" Type="http://schemas.openxmlformats.org/officeDocument/2006/relationships/image" Target="../media/image5.jpeg"/><Relationship Id="rId2" Type="http://schemas.openxmlformats.org/officeDocument/2006/relationships/tags" Target="../tags/tag8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5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91.xml"/><Relationship Id="rId7" Type="http://schemas.openxmlformats.org/officeDocument/2006/relationships/image" Target="../media/image6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7.jpeg"/><Relationship Id="rId2" Type="http://schemas.openxmlformats.org/officeDocument/2006/relationships/tags" Target="../tags/tag9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97.xml"/><Relationship Id="rId7" Type="http://schemas.openxmlformats.org/officeDocument/2006/relationships/image" Target="../media/image9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99.xml"/><Relationship Id="rId7" Type="http://schemas.openxmlformats.org/officeDocument/2006/relationships/image" Target="../media/image9.png"/><Relationship Id="rId2" Type="http://schemas.openxmlformats.org/officeDocument/2006/relationships/tags" Target="../tags/tag9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101.xml"/><Relationship Id="rId7" Type="http://schemas.openxmlformats.org/officeDocument/2006/relationships/image" Target="../media/image9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103.xml"/><Relationship Id="rId7" Type="http://schemas.openxmlformats.org/officeDocument/2006/relationships/image" Target="../media/image9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105.xml"/><Relationship Id="rId7" Type="http://schemas.openxmlformats.org/officeDocument/2006/relationships/image" Target="../media/image9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07.xml"/><Relationship Id="rId7" Type="http://schemas.openxmlformats.org/officeDocument/2006/relationships/image" Target="../media/image8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Relationship Id="rId9" Type="http://schemas.openxmlformats.org/officeDocument/2006/relationships/image" Target="../media/image12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10.xml"/><Relationship Id="rId7" Type="http://schemas.openxmlformats.org/officeDocument/2006/relationships/image" Target="../media/image8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1.xml"/><Relationship Id="rId9" Type="http://schemas.openxmlformats.org/officeDocument/2006/relationships/image" Target="../media/image12.png"/></Relationships>
</file>

<file path=ppt/slideLayouts/_rels/slideLayout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3.xml"/><Relationship Id="rId7" Type="http://schemas.openxmlformats.org/officeDocument/2006/relationships/image" Target="../media/image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13.xml"/><Relationship Id="rId7" Type="http://schemas.openxmlformats.org/officeDocument/2006/relationships/image" Target="../media/image8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4.xml"/><Relationship Id="rId9" Type="http://schemas.openxmlformats.org/officeDocument/2006/relationships/image" Target="../media/image12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16.xml"/><Relationship Id="rId7" Type="http://schemas.openxmlformats.org/officeDocument/2006/relationships/image" Target="../media/image8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11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0.svg"/><Relationship Id="rId4" Type="http://schemas.openxmlformats.org/officeDocument/2006/relationships/tags" Target="../tags/tag117.xml"/><Relationship Id="rId9" Type="http://schemas.openxmlformats.org/officeDocument/2006/relationships/image" Target="../media/image9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19.xml"/><Relationship Id="rId7" Type="http://schemas.openxmlformats.org/officeDocument/2006/relationships/image" Target="../media/image8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0.xml"/><Relationship Id="rId9" Type="http://schemas.openxmlformats.org/officeDocument/2006/relationships/image" Target="../media/image12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22.xml"/><Relationship Id="rId7" Type="http://schemas.openxmlformats.org/officeDocument/2006/relationships/image" Target="../media/image8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3.xml"/><Relationship Id="rId9" Type="http://schemas.openxmlformats.org/officeDocument/2006/relationships/image" Target="../media/image12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25.xml"/><Relationship Id="rId7" Type="http://schemas.openxmlformats.org/officeDocument/2006/relationships/image" Target="../media/image15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6.xml"/><Relationship Id="rId9" Type="http://schemas.openxmlformats.org/officeDocument/2006/relationships/image" Target="../media/image13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28.xml"/><Relationship Id="rId7" Type="http://schemas.openxmlformats.org/officeDocument/2006/relationships/image" Target="../media/image8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11" Type="http://schemas.openxmlformats.org/officeDocument/2006/relationships/image" Target="../media/image10.sv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9.png"/><Relationship Id="rId4" Type="http://schemas.openxmlformats.org/officeDocument/2006/relationships/tags" Target="../tags/tag129.xml"/><Relationship Id="rId9" Type="http://schemas.openxmlformats.org/officeDocument/2006/relationships/image" Target="../media/image14.pn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31.xml"/><Relationship Id="rId7" Type="http://schemas.openxmlformats.org/officeDocument/2006/relationships/image" Target="../media/image8.emf"/><Relationship Id="rId2" Type="http://schemas.openxmlformats.org/officeDocument/2006/relationships/tags" Target="../tags/tag130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2.xml"/><Relationship Id="rId9" Type="http://schemas.openxmlformats.org/officeDocument/2006/relationships/image" Target="../media/image16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34.xml"/><Relationship Id="rId7" Type="http://schemas.openxmlformats.org/officeDocument/2006/relationships/image" Target="../media/image8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11" Type="http://schemas.openxmlformats.org/officeDocument/2006/relationships/image" Target="../media/image11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0.svg"/><Relationship Id="rId4" Type="http://schemas.openxmlformats.org/officeDocument/2006/relationships/tags" Target="../tags/tag135.xml"/><Relationship Id="rId9" Type="http://schemas.openxmlformats.org/officeDocument/2006/relationships/image" Target="../media/image9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37.xml"/><Relationship Id="rId7" Type="http://schemas.openxmlformats.org/officeDocument/2006/relationships/image" Target="../media/image8.emf"/><Relationship Id="rId2" Type="http://schemas.openxmlformats.org/officeDocument/2006/relationships/tags" Target="../tags/tag136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Relationship Id="rId9" Type="http://schemas.openxmlformats.org/officeDocument/2006/relationships/image" Target="../media/image13.pn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40.xml"/><Relationship Id="rId7" Type="http://schemas.openxmlformats.org/officeDocument/2006/relationships/image" Target="../media/image8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Relationship Id="rId9" Type="http://schemas.openxmlformats.org/officeDocument/2006/relationships/image" Target="../media/image1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7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43.xml"/><Relationship Id="rId7" Type="http://schemas.openxmlformats.org/officeDocument/2006/relationships/image" Target="../media/image8.emf"/><Relationship Id="rId2" Type="http://schemas.openxmlformats.org/officeDocument/2006/relationships/tags" Target="../tags/tag142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4.xml"/><Relationship Id="rId9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46.xml"/><Relationship Id="rId7" Type="http://schemas.openxmlformats.org/officeDocument/2006/relationships/image" Target="../media/image8.emf"/><Relationship Id="rId2" Type="http://schemas.openxmlformats.org/officeDocument/2006/relationships/tags" Target="../tags/tag145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7.xml"/><Relationship Id="rId9" Type="http://schemas.openxmlformats.org/officeDocument/2006/relationships/image" Target="../media/image14.png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49.xml"/><Relationship Id="rId7" Type="http://schemas.openxmlformats.org/officeDocument/2006/relationships/image" Target="../media/image8.emf"/><Relationship Id="rId2" Type="http://schemas.openxmlformats.org/officeDocument/2006/relationships/tags" Target="../tags/tag148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0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152.xml"/><Relationship Id="rId7" Type="http://schemas.openxmlformats.org/officeDocument/2006/relationships/image" Target="../media/image9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54.xml"/><Relationship Id="rId7" Type="http://schemas.openxmlformats.org/officeDocument/2006/relationships/image" Target="../media/image11.jpeg"/><Relationship Id="rId2" Type="http://schemas.openxmlformats.org/officeDocument/2006/relationships/tags" Target="../tags/tag15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6.xml"/><Relationship Id="rId7" Type="http://schemas.openxmlformats.org/officeDocument/2006/relationships/image" Target="../media/image11.jpeg"/><Relationship Id="rId2" Type="http://schemas.openxmlformats.org/officeDocument/2006/relationships/tags" Target="../tags/tag15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11.jpeg"/><Relationship Id="rId2" Type="http://schemas.openxmlformats.org/officeDocument/2006/relationships/tags" Target="../tags/tag15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59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60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9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61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62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64.xml"/><Relationship Id="rId7" Type="http://schemas.openxmlformats.org/officeDocument/2006/relationships/image" Target="../media/image1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11.jpeg"/><Relationship Id="rId2" Type="http://schemas.openxmlformats.org/officeDocument/2006/relationships/tags" Target="../tags/tag166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11.jpeg"/><Relationship Id="rId2" Type="http://schemas.openxmlformats.org/officeDocument/2006/relationships/tags" Target="../tags/tag168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71.xml"/><Relationship Id="rId7" Type="http://schemas.openxmlformats.org/officeDocument/2006/relationships/image" Target="../media/image11.jpeg"/><Relationship Id="rId2" Type="http://schemas.openxmlformats.org/officeDocument/2006/relationships/tags" Target="../tags/tag170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10" Type="http://schemas.openxmlformats.org/officeDocument/2006/relationships/image" Target="../media/image10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173.xml"/><Relationship Id="rId7" Type="http://schemas.openxmlformats.org/officeDocument/2006/relationships/image" Target="../media/image9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19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77.xml"/><Relationship Id="rId7" Type="http://schemas.openxmlformats.org/officeDocument/2006/relationships/image" Target="../media/image11.jpeg"/><Relationship Id="rId2" Type="http://schemas.openxmlformats.org/officeDocument/2006/relationships/tags" Target="../tags/tag176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10" Type="http://schemas.openxmlformats.org/officeDocument/2006/relationships/image" Target="../media/image10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79.xml"/><Relationship Id="rId7" Type="http://schemas.openxmlformats.org/officeDocument/2006/relationships/image" Target="../media/image11.jpeg"/><Relationship Id="rId2" Type="http://schemas.openxmlformats.org/officeDocument/2006/relationships/tags" Target="../tags/tag1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7030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C54F24B-2251-49AA-BA45-1EAD53472F0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1C02377-276C-49B2-BE23-0112E35E3E57}"/>
              </a:ext>
            </a:extLst>
          </p:cNvPr>
          <p:cNvSpPr/>
          <p:nvPr userDrawn="1"/>
        </p:nvSpPr>
        <p:spPr>
          <a:xfrm>
            <a:off x="1" y="2012954"/>
            <a:ext cx="6857999" cy="3669029"/>
          </a:xfrm>
          <a:prstGeom prst="rect">
            <a:avLst/>
          </a:prstGeom>
          <a:solidFill>
            <a:srgbClr val="000000">
              <a:alpha val="8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7" name="Picture 16" descr="Text&#10;&#10;Description automatically generated">
            <a:extLst>
              <a:ext uri="{FF2B5EF4-FFF2-40B4-BE49-F238E27FC236}">
                <a16:creationId xmlns:a16="http://schemas.microsoft.com/office/drawing/2014/main" id="{A3270A9F-8C65-4902-B9F6-D4A022D1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376108" y="2528856"/>
            <a:ext cx="3413477" cy="15136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600A81B6-75C6-404D-B72D-6A25A22A0FA7}"/>
              </a:ext>
            </a:extLst>
          </p:cNvPr>
          <p:cNvSpPr/>
          <p:nvPr userDrawn="1"/>
        </p:nvSpPr>
        <p:spPr>
          <a:xfrm flipH="1">
            <a:off x="0" y="2518416"/>
            <a:ext cx="182880" cy="2658104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9008" y="3873500"/>
            <a:ext cx="6037392" cy="130302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9F1B151-B2A2-4EBB-B6F3-EACB398434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344639" y="6261931"/>
            <a:ext cx="2270878" cy="21897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 algn="l">
              <a:lnSpc>
                <a:spcPct val="110000"/>
              </a:lnSpc>
              <a:buNone/>
              <a:defRPr sz="14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87D93D-C714-4725-B025-4299225DC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9684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2C3C1B-97ED-4332-A5A5-D8777D22DF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98C6BC4-A6AD-4F3A-9F47-7232D6F87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D8FFC59-4FB4-4B70-B838-12419AB05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725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27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0C79A9-8B24-4E90-94DA-3721827E86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D6D521-B04A-4327-9917-15294CBD0A4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3" name="Overlay">
            <a:extLst>
              <a:ext uri="{FF2B5EF4-FFF2-40B4-BE49-F238E27FC236}">
                <a16:creationId xmlns:a16="http://schemas.microsoft.com/office/drawing/2014/main" id="{8A062ED3-CE63-4951-B77B-D6727A90434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06CC76-5B60-4504-B5B4-A6E7565515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32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1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74A32A-A11E-4C1E-BB2E-BDF9A64F68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215D737-B755-4BAC-BDAF-9CE57E2BA6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9" name="Overlay">
            <a:extLst>
              <a:ext uri="{FF2B5EF4-FFF2-40B4-BE49-F238E27FC236}">
                <a16:creationId xmlns:a16="http://schemas.microsoft.com/office/drawing/2014/main" id="{50B4677C-858F-4253-B838-82953794E3B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2BB8E6-FE5C-4A11-B568-5106AB1D9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5036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77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76C202-CB1D-47F6-B275-E5090E426F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41A4B94-F16E-4411-AC48-F0CB13975C7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2" name="Overlay">
            <a:extLst>
              <a:ext uri="{FF2B5EF4-FFF2-40B4-BE49-F238E27FC236}">
                <a16:creationId xmlns:a16="http://schemas.microsoft.com/office/drawing/2014/main" id="{4690E79D-E845-40C4-A9CA-3136812E6F8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23DAC0-7996-4BC4-AC68-32094B8D57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331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1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D4E9E5-5206-4BDC-AF17-C01CC3B6E2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B60AA9-EB74-427C-B94F-DF072521C83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2" name="Overlay">
            <a:extLst>
              <a:ext uri="{FF2B5EF4-FFF2-40B4-BE49-F238E27FC236}">
                <a16:creationId xmlns:a16="http://schemas.microsoft.com/office/drawing/2014/main" id="{67BEA811-F2A7-4EB0-A0E7-3C176C376D0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833617-B117-47E4-BC4D-F4D2841E1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44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7BAEF-38ED-4E2D-A996-26AAF6901B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BABAC7-7AD7-46CD-A995-2FFDCF58E51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7" name="Overlay">
            <a:extLst>
              <a:ext uri="{FF2B5EF4-FFF2-40B4-BE49-F238E27FC236}">
                <a16:creationId xmlns:a16="http://schemas.microsoft.com/office/drawing/2014/main" id="{31DF97A0-DFBC-4523-8AD8-F6D8CAA5D9B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27DDD3E-F58B-4C81-AEE6-D43844BAA4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37363" t="43832" r="15615" b="3675"/>
          <a:stretch/>
        </p:blipFill>
        <p:spPr>
          <a:xfrm rot="5400000">
            <a:off x="4698999" y="-635000"/>
            <a:ext cx="6858000" cy="8127999"/>
          </a:xfrm>
          <a:prstGeom prst="rect">
            <a:avLst/>
          </a:prstGeom>
        </p:spPr>
      </p:pic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1FFFF9-1337-4FB6-9F03-026FC56BFA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86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E7CFFD-F58A-4998-9400-1C37D0E443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C4A3C50-F147-4FC3-88FD-5757C6C5E5E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8" name="Overlay">
            <a:extLst>
              <a:ext uri="{FF2B5EF4-FFF2-40B4-BE49-F238E27FC236}">
                <a16:creationId xmlns:a16="http://schemas.microsoft.com/office/drawing/2014/main" id="{A63A41F3-AC7D-4F6E-8925-F5CF5136F1A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6572CD-0A1E-4E82-B768-0BEC5EB70F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563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7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544CE0-6BAA-40A0-9EEB-7C197D01E8F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8A4953B-43EF-45A4-9AC8-3C089CC940E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8" name="Overlay">
            <a:extLst>
              <a:ext uri="{FF2B5EF4-FFF2-40B4-BE49-F238E27FC236}">
                <a16:creationId xmlns:a16="http://schemas.microsoft.com/office/drawing/2014/main" id="{CDFD3F24-2222-461A-BD08-5FFB73D2B92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3ED114-FC6E-4FB8-ADC6-D243F8AAD0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008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96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77B0AB-6273-48C4-A585-6EC49B1B32F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064ED0-8779-45D3-A688-8FE8EAA6B6E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3" name="Overlay">
            <a:extLst>
              <a:ext uri="{FF2B5EF4-FFF2-40B4-BE49-F238E27FC236}">
                <a16:creationId xmlns:a16="http://schemas.microsoft.com/office/drawing/2014/main" id="{2F3D7F8D-668A-4B05-BC01-ED53104EA84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0D66CD-E5A3-41A7-9276-DBA0CEBA73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8835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0"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78B473-51B4-49D5-B325-7C4FC18F72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E01F911-70E8-453F-9FAF-C632F3A2889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 r="66467"/>
          <a:stretch>
            <a:fillRect/>
          </a:stretch>
        </p:blipFill>
        <p:spPr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8" name="Overlay">
            <a:extLst>
              <a:ext uri="{FF2B5EF4-FFF2-40B4-BE49-F238E27FC236}">
                <a16:creationId xmlns:a16="http://schemas.microsoft.com/office/drawing/2014/main" id="{A07F78D3-D9F5-442F-86CD-171E6D887FD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4088312" cy="6858000"/>
          </a:xfrm>
          <a:prstGeom prst="homePlate">
            <a:avLst>
              <a:gd name="adj" fmla="val 19868"/>
            </a:avLst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3740FA9-ABDA-432B-A342-00BDBAE2787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2D4B6E2-CFC4-4A82-AF43-3F0E4150C2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2887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8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C54F24B-2251-49AA-BA45-1EAD53472F0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8B418CF-D336-4274-B0FF-6B18F96DAE92}"/>
              </a:ext>
            </a:extLst>
          </p:cNvPr>
          <p:cNvSpPr/>
          <p:nvPr userDrawn="1"/>
        </p:nvSpPr>
        <p:spPr>
          <a:xfrm>
            <a:off x="1" y="0"/>
            <a:ext cx="12191999" cy="5681983"/>
          </a:xfrm>
          <a:prstGeom prst="rect">
            <a:avLst/>
          </a:prstGeom>
          <a:solidFill>
            <a:srgbClr val="000000">
              <a:alpha val="83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7" name="Picture 16" descr="Text&#10;&#10;Description automatically generated">
            <a:extLst>
              <a:ext uri="{FF2B5EF4-FFF2-40B4-BE49-F238E27FC236}">
                <a16:creationId xmlns:a16="http://schemas.microsoft.com/office/drawing/2014/main" id="{A3270A9F-8C65-4902-B9F6-D4A022D1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376108" y="2528856"/>
            <a:ext cx="3413477" cy="15136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600A81B6-75C6-404D-B72D-6A25A22A0FA7}"/>
              </a:ext>
            </a:extLst>
          </p:cNvPr>
          <p:cNvSpPr/>
          <p:nvPr userDrawn="1"/>
        </p:nvSpPr>
        <p:spPr>
          <a:xfrm flipH="1">
            <a:off x="0" y="2518416"/>
            <a:ext cx="182880" cy="2658104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9008" y="3873500"/>
            <a:ext cx="6037392" cy="130302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9F1B151-B2A2-4EBB-B6F3-EACB398434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9008" y="6261931"/>
            <a:ext cx="2270878" cy="21897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 algn="l">
              <a:lnSpc>
                <a:spcPct val="110000"/>
              </a:lnSpc>
              <a:buNone/>
              <a:defRPr sz="14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3067515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88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48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40552D-66C8-4BB9-AAC1-3A66AFD053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0C1C6F4-D232-4283-8F7F-BA39C6F0D6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6" name="Overlay">
            <a:extLst>
              <a:ext uri="{FF2B5EF4-FFF2-40B4-BE49-F238E27FC236}">
                <a16:creationId xmlns:a16="http://schemas.microsoft.com/office/drawing/2014/main" id="{E3E07FAF-C072-4B84-A872-6D3ADF6B4A7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E449AA-AD7A-4CFE-B763-1DD2C9C93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957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CBE440-6ADA-4D74-8FB4-F50B047F8D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937F524-AF21-4775-8BF6-5C8731ECD7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7363" t="43832" r="15615" b="7858"/>
          <a:stretch/>
        </p:blipFill>
        <p:spPr>
          <a:xfrm rot="5400000">
            <a:off x="5022849" y="-311150"/>
            <a:ext cx="6858000" cy="74802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EFBC1DB-9E37-4F7D-9184-9F73751A449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 r="55488"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5" name="Overlay">
            <a:extLst>
              <a:ext uri="{FF2B5EF4-FFF2-40B4-BE49-F238E27FC236}">
                <a16:creationId xmlns:a16="http://schemas.microsoft.com/office/drawing/2014/main" id="{675A464E-B43F-476C-84E7-934A3F22995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5426920" cy="6858000"/>
          </a:xfrm>
          <a:prstGeom prst="homePlate">
            <a:avLst>
              <a:gd name="adj" fmla="val 13259"/>
            </a:avLst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B83252-F806-4C56-8E44-34D6F2F644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1267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FBFCC6-93D9-4E8D-ADCE-CC2B604FE3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7FA41CD-5FFD-46A5-8B8F-7034AD01FC0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2" name="Overlay">
            <a:extLst>
              <a:ext uri="{FF2B5EF4-FFF2-40B4-BE49-F238E27FC236}">
                <a16:creationId xmlns:a16="http://schemas.microsoft.com/office/drawing/2014/main" id="{B8DD737A-8297-4BFF-BCFC-2F43BEEBAF1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2E09274-F7D2-4D93-A116-CBBBDD802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835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6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25E3AD-3A07-40DC-A34E-F777C30C82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1539C56-5E4A-4FC1-A8A6-161B620ACD8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r="47806"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5" name="Overlay">
            <a:extLst>
              <a:ext uri="{FF2B5EF4-FFF2-40B4-BE49-F238E27FC236}">
                <a16:creationId xmlns:a16="http://schemas.microsoft.com/office/drawing/2014/main" id="{650E545F-78F9-4EDF-B4EB-3A3F22CB9A8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6363546" cy="6858000"/>
          </a:xfrm>
          <a:prstGeom prst="homePlate">
            <a:avLst>
              <a:gd name="adj" fmla="val 13478"/>
            </a:avLst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10947-EF57-481A-8934-D17DA9F6C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046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8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59D4E7-7952-4A05-A95C-DED7E87EAF1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F65FA2-1964-4072-8770-C90C3230A2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7" name="Overlay">
            <a:extLst>
              <a:ext uri="{FF2B5EF4-FFF2-40B4-BE49-F238E27FC236}">
                <a16:creationId xmlns:a16="http://schemas.microsoft.com/office/drawing/2014/main" id="{759DB691-E0DC-4DB6-9C18-F924FC5B9EA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683A73-7FF5-4721-AA82-2228E011AD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12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1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36915D5-8560-48B2-A2F0-605830AE6F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1C160A4-3562-4A13-9DED-94A0DDAC9D1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 r="30723"/>
          <a:stretch>
            <a:fillRect/>
          </a:stretch>
        </p:blipFill>
        <p:spPr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4" name="Overlay">
            <a:extLst>
              <a:ext uri="{FF2B5EF4-FFF2-40B4-BE49-F238E27FC236}">
                <a16:creationId xmlns:a16="http://schemas.microsoft.com/office/drawing/2014/main" id="{1E84B03E-98BB-4429-9F61-F5EA8DB7D6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8446239" cy="6858000"/>
          </a:xfrm>
          <a:prstGeom prst="homePlate">
            <a:avLst>
              <a:gd name="adj" fmla="val 11481"/>
            </a:avLst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4882FEA-1ADA-4073-A3E1-34E87033E6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01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36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E80DB1-4664-4C76-B667-D6D26D857B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F255C7-158A-4D96-BF96-F7CE7E4AB31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1" name="Overlay">
            <a:extLst>
              <a:ext uri="{FF2B5EF4-FFF2-40B4-BE49-F238E27FC236}">
                <a16:creationId xmlns:a16="http://schemas.microsoft.com/office/drawing/2014/main" id="{C94C96CA-B920-4DC8-A86B-8BF2F771570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E3A5B-686A-41BD-B1BF-57EB181B7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855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9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0CB8E3-58FD-4903-9E28-D14FC62368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56D5615-AB43-4269-AE79-B27597BA81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936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95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896A90C3-CE5D-44AA-A5C5-DC2F94A0F2F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9" name="Overlay">
            <a:extLst>
              <a:ext uri="{FF2B5EF4-FFF2-40B4-BE49-F238E27FC236}">
                <a16:creationId xmlns:a16="http://schemas.microsoft.com/office/drawing/2014/main" id="{A4FD99CB-8535-47D0-BCF0-7D5CDCBA4D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38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1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419EA9E-EB50-4D99-8ADC-8666EDCE20D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" y="0"/>
            <a:ext cx="12208043" cy="689008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C814D9F-016B-45D9-BB90-91E8B3F44D81}"/>
              </a:ext>
            </a:extLst>
          </p:cNvPr>
          <p:cNvSpPr/>
          <p:nvPr userDrawn="1"/>
        </p:nvSpPr>
        <p:spPr>
          <a:xfrm>
            <a:off x="0" y="1482789"/>
            <a:ext cx="7459580" cy="4678299"/>
          </a:xfrm>
          <a:prstGeom prst="rect">
            <a:avLst/>
          </a:prstGeom>
          <a:solidFill>
            <a:srgbClr val="000000">
              <a:alpha val="7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9008" y="3491990"/>
            <a:ext cx="6037392" cy="8229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C918202-8024-40C5-8742-5F8294D03FD5}"/>
              </a:ext>
            </a:extLst>
          </p:cNvPr>
          <p:cNvSpPr/>
          <p:nvPr userDrawn="1"/>
        </p:nvSpPr>
        <p:spPr>
          <a:xfrm flipH="1">
            <a:off x="-1" y="3491990"/>
            <a:ext cx="182880" cy="822960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623BF0C3-98E7-4B98-A189-744E448AE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239455" y="1694350"/>
            <a:ext cx="3346384" cy="1483850"/>
          </a:xfrm>
          <a:prstGeom prst="rect">
            <a:avLst/>
          </a:prstGeom>
        </p:spPr>
      </p:pic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9F1B151-B2A2-4EBB-B6F3-EACB398434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9008" y="5492201"/>
            <a:ext cx="2270878" cy="21897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 algn="l">
              <a:lnSpc>
                <a:spcPct val="110000"/>
              </a:lnSpc>
              <a:buNone/>
              <a:defRPr sz="14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90106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8069A88-F35A-4BF2-9016-8B72C443D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6433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1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 7">
            <a:extLst>
              <a:ext uri="{FF2B5EF4-FFF2-40B4-BE49-F238E27FC236}">
                <a16:creationId xmlns:a16="http://schemas.microsoft.com/office/drawing/2014/main" id="{92C3FD3E-9FAB-4C73-91B4-A881881A9F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3DBB54-6E3D-4C6F-BE7C-C3189EB235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0" name="Overlay">
            <a:extLst>
              <a:ext uri="{FF2B5EF4-FFF2-40B4-BE49-F238E27FC236}">
                <a16:creationId xmlns:a16="http://schemas.microsoft.com/office/drawing/2014/main" id="{BA31C702-0D52-4944-B362-3A77A304A37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977B4A-8430-4CA8-88F2-26FB1E386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9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5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437EC905-344F-4CF8-AAA5-B4E37FB62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369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6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6FE0BF0-6D1D-4FB0-B7FD-3FD6265C5D1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8D10DCD-B12E-43FF-9681-9F850DFE75BF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000000">
              <a:alpha val="6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7AF55CC9-F084-4EDF-BAB8-76C2EFCBDB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261808" y="2775944"/>
            <a:ext cx="5041845" cy="223564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5A3192E-5E01-4AA8-B2DD-60DA744E7BAC}"/>
              </a:ext>
            </a:extLst>
          </p:cNvPr>
          <p:cNvSpPr/>
          <p:nvPr userDrawn="1"/>
        </p:nvSpPr>
        <p:spPr>
          <a:xfrm flipH="1">
            <a:off x="0" y="2518416"/>
            <a:ext cx="182880" cy="2658104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056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5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B39A0A3-F4B3-4EC4-B252-E6AE427AB3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0"/>
            <a:ext cx="12208043" cy="689008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6AF1CEC-60FF-4796-886B-67ADF2A1AA8E}"/>
              </a:ext>
            </a:extLst>
          </p:cNvPr>
          <p:cNvSpPr/>
          <p:nvPr userDrawn="1"/>
        </p:nvSpPr>
        <p:spPr>
          <a:xfrm>
            <a:off x="-1" y="-13587"/>
            <a:ext cx="12208043" cy="6871587"/>
          </a:xfrm>
          <a:prstGeom prst="rect">
            <a:avLst/>
          </a:prstGeom>
          <a:solidFill>
            <a:srgbClr val="000000">
              <a:alpha val="6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412E933E-ADAA-4BE1-A903-CA4947028C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53262" y="3003326"/>
            <a:ext cx="5041845" cy="2235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6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267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0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8AD192A-B366-4929-9E83-CC82FE74744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9920E68-2A7F-4959-85AC-BBC959263806}"/>
              </a:ext>
            </a:extLst>
          </p:cNvPr>
          <p:cNvSpPr/>
          <p:nvPr userDrawn="1"/>
        </p:nvSpPr>
        <p:spPr>
          <a:xfrm>
            <a:off x="1" y="2012954"/>
            <a:ext cx="6857999" cy="3669029"/>
          </a:xfrm>
          <a:prstGeom prst="rect">
            <a:avLst/>
          </a:prstGeom>
          <a:solidFill>
            <a:srgbClr val="000000">
              <a:alpha val="8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9" name="Picture 18" descr="Text&#10;&#10;Description automatically generated">
            <a:extLst>
              <a:ext uri="{FF2B5EF4-FFF2-40B4-BE49-F238E27FC236}">
                <a16:creationId xmlns:a16="http://schemas.microsoft.com/office/drawing/2014/main" id="{61ED11D6-C6AE-4BBF-99D1-426ACB58F6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376108" y="2528856"/>
            <a:ext cx="3413477" cy="15136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B9F768F7-874F-4DFF-B14F-13D7416C9DEE}"/>
              </a:ext>
            </a:extLst>
          </p:cNvPr>
          <p:cNvSpPr/>
          <p:nvPr userDrawn="1"/>
        </p:nvSpPr>
        <p:spPr>
          <a:xfrm flipH="1">
            <a:off x="0" y="2518416"/>
            <a:ext cx="182880" cy="2658104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CD14146-E533-4542-8F01-155821D09F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719008" y="3873500"/>
            <a:ext cx="6037392" cy="130302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63A8A67-F252-4EB9-94B8-E60211B2ED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344639" y="6261931"/>
            <a:ext cx="2270878" cy="21897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 algn="l">
              <a:lnSpc>
                <a:spcPct val="110000"/>
              </a:lnSpc>
              <a:buNone/>
              <a:defRPr sz="14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586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8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C54F24B-2251-49AA-BA45-1EAD53472F0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8B418CF-D336-4274-B0FF-6B18F96DAE92}"/>
              </a:ext>
            </a:extLst>
          </p:cNvPr>
          <p:cNvSpPr/>
          <p:nvPr userDrawn="1"/>
        </p:nvSpPr>
        <p:spPr>
          <a:xfrm>
            <a:off x="1" y="0"/>
            <a:ext cx="12191999" cy="5681983"/>
          </a:xfrm>
          <a:prstGeom prst="rect">
            <a:avLst/>
          </a:prstGeom>
          <a:solidFill>
            <a:srgbClr val="000000">
              <a:alpha val="83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7" name="Picture 16" descr="Text&#10;&#10;Description automatically generated">
            <a:extLst>
              <a:ext uri="{FF2B5EF4-FFF2-40B4-BE49-F238E27FC236}">
                <a16:creationId xmlns:a16="http://schemas.microsoft.com/office/drawing/2014/main" id="{A3270A9F-8C65-4902-B9F6-D4A022D1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376108" y="2528856"/>
            <a:ext cx="3413477" cy="15136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600A81B6-75C6-404D-B72D-6A25A22A0FA7}"/>
              </a:ext>
            </a:extLst>
          </p:cNvPr>
          <p:cNvSpPr/>
          <p:nvPr userDrawn="1"/>
        </p:nvSpPr>
        <p:spPr>
          <a:xfrm flipH="1">
            <a:off x="0" y="2518416"/>
            <a:ext cx="182880" cy="2658104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9008" y="3873500"/>
            <a:ext cx="6037392" cy="130302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9F1B151-B2A2-4EBB-B6F3-EACB398434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9008" y="6261931"/>
            <a:ext cx="2270878" cy="21897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 algn="l">
              <a:lnSpc>
                <a:spcPct val="110000"/>
              </a:lnSpc>
              <a:buNone/>
              <a:defRPr sz="14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193592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991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0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419EA9E-EB50-4D99-8ADC-8666EDCE20D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" y="0"/>
            <a:ext cx="12208043" cy="689008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C814D9F-016B-45D9-BB90-91E8B3F44D81}"/>
              </a:ext>
            </a:extLst>
          </p:cNvPr>
          <p:cNvSpPr/>
          <p:nvPr userDrawn="1"/>
        </p:nvSpPr>
        <p:spPr>
          <a:xfrm>
            <a:off x="0" y="1482789"/>
            <a:ext cx="7459580" cy="4678299"/>
          </a:xfrm>
          <a:prstGeom prst="rect">
            <a:avLst/>
          </a:prstGeom>
          <a:solidFill>
            <a:srgbClr val="000000">
              <a:alpha val="7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9008" y="3491990"/>
            <a:ext cx="6037392" cy="8229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C918202-8024-40C5-8742-5F8294D03FD5}"/>
              </a:ext>
            </a:extLst>
          </p:cNvPr>
          <p:cNvSpPr/>
          <p:nvPr userDrawn="1"/>
        </p:nvSpPr>
        <p:spPr>
          <a:xfrm flipH="1">
            <a:off x="-1" y="3491990"/>
            <a:ext cx="182880" cy="822960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623BF0C3-98E7-4B98-A189-744E448AE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239455" y="1694350"/>
            <a:ext cx="3346384" cy="1483850"/>
          </a:xfrm>
          <a:prstGeom prst="rect">
            <a:avLst/>
          </a:prstGeom>
        </p:spPr>
      </p:pic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9F1B151-B2A2-4EBB-B6F3-EACB398434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9008" y="5492201"/>
            <a:ext cx="2270878" cy="21897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 algn="l">
              <a:lnSpc>
                <a:spcPct val="110000"/>
              </a:lnSpc>
              <a:buNone/>
              <a:defRPr sz="14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340911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3102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2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419EA9E-EB50-4D99-8ADC-8666EDCE20D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" y="0"/>
            <a:ext cx="12208043" cy="689008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E8C20C0-AEFC-41EA-B163-CB841ECBE913}"/>
              </a:ext>
            </a:extLst>
          </p:cNvPr>
          <p:cNvSpPr/>
          <p:nvPr userDrawn="1"/>
        </p:nvSpPr>
        <p:spPr>
          <a:xfrm>
            <a:off x="-16043" y="0"/>
            <a:ext cx="12208043" cy="5529943"/>
          </a:xfrm>
          <a:prstGeom prst="rect">
            <a:avLst/>
          </a:prstGeom>
          <a:solidFill>
            <a:srgbClr val="000000">
              <a:alpha val="7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9008" y="3491990"/>
            <a:ext cx="6037392" cy="8229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C918202-8024-40C5-8742-5F8294D03FD5}"/>
              </a:ext>
            </a:extLst>
          </p:cNvPr>
          <p:cNvSpPr/>
          <p:nvPr userDrawn="1"/>
        </p:nvSpPr>
        <p:spPr>
          <a:xfrm flipH="1">
            <a:off x="-1" y="3491990"/>
            <a:ext cx="182880" cy="822960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623BF0C3-98E7-4B98-A189-744E448AE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239455" y="1694350"/>
            <a:ext cx="3346384" cy="1483850"/>
          </a:xfrm>
          <a:prstGeom prst="rect">
            <a:avLst/>
          </a:prstGeom>
        </p:spPr>
      </p:pic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9F1B151-B2A2-4EBB-B6F3-EACB398434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9008" y="6100528"/>
            <a:ext cx="2270878" cy="21897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 algn="l">
              <a:lnSpc>
                <a:spcPct val="110000"/>
              </a:lnSpc>
              <a:buNone/>
              <a:defRPr sz="14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319749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74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6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419EA9E-EB50-4D99-8ADC-8666EDCE20D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" y="0"/>
            <a:ext cx="12208043" cy="689008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E8C20C0-AEFC-41EA-B163-CB841ECBE913}"/>
              </a:ext>
            </a:extLst>
          </p:cNvPr>
          <p:cNvSpPr/>
          <p:nvPr userDrawn="1"/>
        </p:nvSpPr>
        <p:spPr>
          <a:xfrm>
            <a:off x="-16043" y="0"/>
            <a:ext cx="12208043" cy="5529943"/>
          </a:xfrm>
          <a:prstGeom prst="rect">
            <a:avLst/>
          </a:prstGeom>
          <a:solidFill>
            <a:srgbClr val="000000">
              <a:alpha val="7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9008" y="3491990"/>
            <a:ext cx="6037392" cy="8229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C918202-8024-40C5-8742-5F8294D03FD5}"/>
              </a:ext>
            </a:extLst>
          </p:cNvPr>
          <p:cNvSpPr/>
          <p:nvPr userDrawn="1"/>
        </p:nvSpPr>
        <p:spPr>
          <a:xfrm flipH="1">
            <a:off x="-1" y="3491990"/>
            <a:ext cx="182880" cy="822960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623BF0C3-98E7-4B98-A189-744E448AE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239455" y="1694350"/>
            <a:ext cx="3346384" cy="1483850"/>
          </a:xfrm>
          <a:prstGeom prst="rect">
            <a:avLst/>
          </a:prstGeom>
        </p:spPr>
      </p:pic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9F1B151-B2A2-4EBB-B6F3-EACB398434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9008" y="6100528"/>
            <a:ext cx="2270878" cy="21897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 algn="l">
              <a:lnSpc>
                <a:spcPct val="110000"/>
              </a:lnSpc>
              <a:buNone/>
              <a:defRPr sz="14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402641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30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A39AEA0-2E69-4739-B268-4E17AAFCB76D}"/>
              </a:ext>
            </a:extLst>
          </p:cNvPr>
          <p:cNvSpPr/>
          <p:nvPr userDrawn="1"/>
        </p:nvSpPr>
        <p:spPr>
          <a:xfrm>
            <a:off x="0" y="4146977"/>
            <a:ext cx="12192000" cy="2711023"/>
          </a:xfrm>
          <a:prstGeom prst="rect">
            <a:avLst/>
          </a:prstGeom>
          <a:solidFill>
            <a:srgbClr val="0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FEB9A6-4F0E-4AB7-B6C6-B3884B163F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-5923"/>
            <a:ext cx="12192000" cy="4152900"/>
          </a:xfrm>
          <a:prstGeom prst="rect">
            <a:avLst/>
          </a:prstGeom>
        </p:spPr>
      </p:pic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628649" y="4575067"/>
            <a:ext cx="10934700" cy="430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93000"/>
              </a:lnSpc>
              <a:defRPr sz="2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6312CE-C289-4BB0-B832-04733478C47D}"/>
              </a:ext>
            </a:extLst>
          </p:cNvPr>
          <p:cNvSpPr txBox="1"/>
          <p:nvPr userDrawn="1"/>
        </p:nvSpPr>
        <p:spPr>
          <a:xfrm>
            <a:off x="628649" y="3152004"/>
            <a:ext cx="1693027" cy="92333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  <a:cs typeface="Henderson BCG Mod" panose="02060703040403060203" pitchFamily="18" charset="0"/>
              </a:rPr>
              <a:t>01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C333491-99AB-423C-B006-B73425B0423A}"/>
              </a:ext>
            </a:extLst>
          </p:cNvPr>
          <p:cNvSpPr/>
          <p:nvPr userDrawn="1"/>
        </p:nvSpPr>
        <p:spPr>
          <a:xfrm rot="5400000" flipH="1">
            <a:off x="685800" y="3452685"/>
            <a:ext cx="182880" cy="1554480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94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3958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7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9C14DC-995F-43D8-964D-BD81E1911DD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17249"/>
            <a:ext cx="12192000" cy="416052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A39AEA0-2E69-4739-B268-4E17AAFCB76D}"/>
              </a:ext>
            </a:extLst>
          </p:cNvPr>
          <p:cNvSpPr/>
          <p:nvPr userDrawn="1"/>
        </p:nvSpPr>
        <p:spPr>
          <a:xfrm>
            <a:off x="0" y="4146977"/>
            <a:ext cx="12192000" cy="2711023"/>
          </a:xfrm>
          <a:prstGeom prst="rect">
            <a:avLst/>
          </a:prstGeom>
          <a:solidFill>
            <a:srgbClr val="0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628649" y="4575067"/>
            <a:ext cx="10934700" cy="430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93000"/>
              </a:lnSpc>
              <a:defRPr sz="2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6312CE-C289-4BB0-B832-04733478C47D}"/>
              </a:ext>
            </a:extLst>
          </p:cNvPr>
          <p:cNvSpPr txBox="1"/>
          <p:nvPr userDrawn="1"/>
        </p:nvSpPr>
        <p:spPr>
          <a:xfrm>
            <a:off x="628649" y="3152004"/>
            <a:ext cx="1693027" cy="92333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  <a:cs typeface="Henderson BCG Mod" panose="02060703040403060203" pitchFamily="18" charset="0"/>
              </a:rPr>
              <a:t>0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C333491-99AB-423C-B006-B73425B0423A}"/>
              </a:ext>
            </a:extLst>
          </p:cNvPr>
          <p:cNvSpPr/>
          <p:nvPr userDrawn="1"/>
        </p:nvSpPr>
        <p:spPr>
          <a:xfrm rot="5400000" flipH="1">
            <a:off x="685800" y="3452685"/>
            <a:ext cx="182880" cy="1554480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915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E574F8-F3D9-4C21-9ACE-187BFA459F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9861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D17AC3-AC0C-4396-BC13-E2EC7DD532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E574F8-F3D9-4C21-9ACE-187BFA459F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927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1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E574F8-F3D9-4C21-9ACE-187BFA459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D17AC3-AC0C-4396-BC13-E2EC7DD532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6B818F7-67AA-4DE3-A569-6E37FE5127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5665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4880DCD-F53B-4363-AA03-C9E003376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717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B9A108-16D7-4964-9F47-EE01131AD7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CB34635-C3C2-4E50-94B2-34C997880D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AA432F-A32D-4E94-8F71-73DECCE1F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55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4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3F3B2E-258C-48BD-A20E-707C03BE90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D63DB26-4C92-4D68-94D1-9B6005296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01C1F2-5C7A-4457-926E-4C4F6E7631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6896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8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F1378B7-6FDD-420B-807D-589A75A983F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CAC2CC1-626B-4C82-B9CD-3A288DECD0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0B2BB5-FA78-4AC3-A5EC-04D91C99E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335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1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F0EE5F-63BC-4260-B167-7A49DA2C36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F7D9331-EFF6-4D29-923A-AA79C62FA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831DE2-8CFA-4099-B211-EC504319C9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5234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60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4481D90-2F73-43D5-8ACC-3DDACFA64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661E428-55DE-4BB2-B03D-F6D5B0DD184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3" name="Overlay">
            <a:extLst>
              <a:ext uri="{FF2B5EF4-FFF2-40B4-BE49-F238E27FC236}">
                <a16:creationId xmlns:a16="http://schemas.microsoft.com/office/drawing/2014/main" id="{DA23AC88-CE5A-4884-AFC2-163B3DAD285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D10983-72EA-4433-91AF-69E7C586FB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42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8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BAAAAE-93FE-4F47-828F-91BA29824D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FFA903-0763-442E-B86D-97457370037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3" name="Overlay">
            <a:extLst>
              <a:ext uri="{FF2B5EF4-FFF2-40B4-BE49-F238E27FC236}">
                <a16:creationId xmlns:a16="http://schemas.microsoft.com/office/drawing/2014/main" id="{3B0B1E50-479F-4825-BA7C-6D22BBE4270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657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A39AEA0-2E69-4739-B268-4E17AAFCB76D}"/>
              </a:ext>
            </a:extLst>
          </p:cNvPr>
          <p:cNvSpPr/>
          <p:nvPr userDrawn="1"/>
        </p:nvSpPr>
        <p:spPr>
          <a:xfrm>
            <a:off x="0" y="4146977"/>
            <a:ext cx="12192000" cy="2711023"/>
          </a:xfrm>
          <a:prstGeom prst="rect">
            <a:avLst/>
          </a:prstGeom>
          <a:solidFill>
            <a:srgbClr val="0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FEB9A6-4F0E-4AB7-B6C6-B3884B163F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-5923"/>
            <a:ext cx="12192000" cy="4152900"/>
          </a:xfrm>
          <a:prstGeom prst="rect">
            <a:avLst/>
          </a:prstGeom>
        </p:spPr>
      </p:pic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628649" y="4575067"/>
            <a:ext cx="10934700" cy="430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93000"/>
              </a:lnSpc>
              <a:defRPr sz="2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6312CE-C289-4BB0-B832-04733478C47D}"/>
              </a:ext>
            </a:extLst>
          </p:cNvPr>
          <p:cNvSpPr txBox="1"/>
          <p:nvPr userDrawn="1"/>
        </p:nvSpPr>
        <p:spPr>
          <a:xfrm>
            <a:off x="628649" y="3152004"/>
            <a:ext cx="1693027" cy="92333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  <a:cs typeface="Henderson BCG Mod" panose="02060703040403060203" pitchFamily="18" charset="0"/>
              </a:rPr>
              <a:t>01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C333491-99AB-423C-B006-B73425B0423A}"/>
              </a:ext>
            </a:extLst>
          </p:cNvPr>
          <p:cNvSpPr/>
          <p:nvPr userDrawn="1"/>
        </p:nvSpPr>
        <p:spPr>
          <a:xfrm rot="5400000" flipH="1">
            <a:off x="685800" y="3452685"/>
            <a:ext cx="182880" cy="1554480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5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CA66B5-3225-4D14-A1D6-6009EB57FE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01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0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AD32F10-BFBF-4958-8367-CD6E9CE39F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119905-A778-47E0-85C3-A3CFCC7AF9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4" name="Overlay">
            <a:extLst>
              <a:ext uri="{FF2B5EF4-FFF2-40B4-BE49-F238E27FC236}">
                <a16:creationId xmlns:a16="http://schemas.microsoft.com/office/drawing/2014/main" id="{DB3D1E55-AC38-46B4-8263-43E324B0669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C8DD9CB-940B-431A-B994-1D8D12847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31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3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A3AFE9A-B350-47CF-BD06-456FD279C2C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3EA3D6F-550C-4D31-8785-42409DBB5ED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2" name="Overlay">
            <a:extLst>
              <a:ext uri="{FF2B5EF4-FFF2-40B4-BE49-F238E27FC236}">
                <a16:creationId xmlns:a16="http://schemas.microsoft.com/office/drawing/2014/main" id="{DCF794B5-A979-4843-AC10-00A98783E12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86B7C1B-69C8-42D3-B2FD-5CCE1FAC74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37363" t="43832" r="15615" b="3840"/>
          <a:stretch/>
        </p:blipFill>
        <p:spPr>
          <a:xfrm rot="5400000">
            <a:off x="4711699" y="-622300"/>
            <a:ext cx="6858000" cy="810259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0570CE-8353-4C23-B7A7-40AD3FEAB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962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56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5FC93F-B4E4-4DB9-B095-7F86CCC37C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3B9A828-918B-48AF-B5C9-309F5B158F7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9" name="Overlay">
            <a:extLst>
              <a:ext uri="{FF2B5EF4-FFF2-40B4-BE49-F238E27FC236}">
                <a16:creationId xmlns:a16="http://schemas.microsoft.com/office/drawing/2014/main" id="{B3232610-7ED9-4842-AD67-85C140B7EA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2B6B50-ADB2-4C58-A097-3324CDEEA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17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0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E1C6FF-E548-464E-82D1-2B01BF9760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3741D63-9146-408E-8173-2590D59CA67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8" name="Overlay">
            <a:extLst>
              <a:ext uri="{FF2B5EF4-FFF2-40B4-BE49-F238E27FC236}">
                <a16:creationId xmlns:a16="http://schemas.microsoft.com/office/drawing/2014/main" id="{E359B5DB-6EEB-4CA8-B11C-C4BA425C1F0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06695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72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A9D1803-DD6C-47EA-925F-5C664DF4D8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8D9E5F-7F9D-43CD-99C5-CF5AEFDA4FF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6" name="Overlay">
            <a:extLst>
              <a:ext uri="{FF2B5EF4-FFF2-40B4-BE49-F238E27FC236}">
                <a16:creationId xmlns:a16="http://schemas.microsoft.com/office/drawing/2014/main" id="{B0B0919C-4FFD-4344-A198-C0B2B3E0E51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83FDF4-1C13-4432-9614-B86791DD5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479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0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FFFD8-506B-4111-855B-60D73BE4AA9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D50770D-8939-4921-9B43-5BCF0D85604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l="13" t="19" r="66455"/>
          <a:stretch>
            <a:fillRect/>
          </a:stretch>
        </p:blipFill>
        <p:spPr>
          <a:xfrm>
            <a:off x="1524" y="1310"/>
            <a:ext cx="4088312" cy="6856690"/>
          </a:xfrm>
          <a:custGeom>
            <a:avLst/>
            <a:gdLst>
              <a:gd name="connsiteX0" fmla="*/ 0 w 4088312"/>
              <a:gd name="connsiteY0" fmla="*/ 0 h 6856690"/>
              <a:gd name="connsiteX1" fmla="*/ 3264933 w 4088312"/>
              <a:gd name="connsiteY1" fmla="*/ 0 h 6856690"/>
              <a:gd name="connsiteX2" fmla="*/ 4088312 w 4088312"/>
              <a:gd name="connsiteY2" fmla="*/ 3429000 h 6856690"/>
              <a:gd name="connsiteX3" fmla="*/ 3265248 w 4088312"/>
              <a:gd name="connsiteY3" fmla="*/ 6856690 h 6856690"/>
              <a:gd name="connsiteX4" fmla="*/ 0 w 4088312"/>
              <a:gd name="connsiteY4" fmla="*/ 6856690 h 685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669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5248" y="6856690"/>
                </a:lnTo>
                <a:lnTo>
                  <a:pt x="0" y="6856690"/>
                </a:lnTo>
                <a:close/>
              </a:path>
            </a:pathLst>
          </a:custGeom>
        </p:spPr>
      </p:pic>
      <p:sp>
        <p:nvSpPr>
          <p:cNvPr id="13" name="Overlay">
            <a:extLst>
              <a:ext uri="{FF2B5EF4-FFF2-40B4-BE49-F238E27FC236}">
                <a16:creationId xmlns:a16="http://schemas.microsoft.com/office/drawing/2014/main" id="{8E09979B-F2DF-498E-BF53-BB5C633022A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524" y="1310"/>
            <a:ext cx="4088312" cy="6856690"/>
          </a:xfrm>
          <a:prstGeom prst="homePlate">
            <a:avLst>
              <a:gd name="adj" fmla="val 19557"/>
            </a:avLst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0E1A7035-7D3A-4CBC-AC28-937F538451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BFC38E-B4F4-4414-99C8-D0CDC41EF3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685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2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21DF92-5E54-45DF-BF9C-563BD06949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F2A79C2-53BB-4402-B909-B0F6E1B88A7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4" name="Overlay">
            <a:extLst>
              <a:ext uri="{FF2B5EF4-FFF2-40B4-BE49-F238E27FC236}">
                <a16:creationId xmlns:a16="http://schemas.microsoft.com/office/drawing/2014/main" id="{7A6ABB71-BAF7-4BBB-A0C6-CF779B47E09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03568-8C1E-4D1B-B53D-974C98D9E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398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5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1AFDECB-0DAE-4848-8638-7A18013A44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5CF3AB4-A533-430B-8130-0030529B47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ADF549-360D-4CAF-9973-D8A7FE3039D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 r="55488"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7" name="Overlay">
            <a:extLst>
              <a:ext uri="{FF2B5EF4-FFF2-40B4-BE49-F238E27FC236}">
                <a16:creationId xmlns:a16="http://schemas.microsoft.com/office/drawing/2014/main" id="{19E3E548-BBBD-4611-9AB2-B1D2736E6B9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5426920" cy="6858000"/>
          </a:xfrm>
          <a:prstGeom prst="homePlate">
            <a:avLst>
              <a:gd name="adj" fmla="val 13025"/>
            </a:avLst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7828F9F-9D82-4291-9BA0-C13038588E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15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76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B08409-D5E8-45E3-B86A-4DEC26567D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0E43A4-042E-4B53-B724-5521C691427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4" name="Overlay">
            <a:extLst>
              <a:ext uri="{FF2B5EF4-FFF2-40B4-BE49-F238E27FC236}">
                <a16:creationId xmlns:a16="http://schemas.microsoft.com/office/drawing/2014/main" id="{C6053E5F-A0FB-4533-AC20-8806FC5C4B0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B6DB0D-D75A-4B12-A278-F40BF9E23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683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00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C47DBC-7BF6-4382-8736-C5AB9C6476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36BEFBA-7680-4E43-B87B-4A038E3F2F1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r="47806"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6" name="Overlay">
            <a:extLst>
              <a:ext uri="{FF2B5EF4-FFF2-40B4-BE49-F238E27FC236}">
                <a16:creationId xmlns:a16="http://schemas.microsoft.com/office/drawing/2014/main" id="{E13A233A-15BF-4EFA-8126-CC6A34C84AD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6363546" cy="6858000"/>
          </a:xfrm>
          <a:prstGeom prst="homePlate">
            <a:avLst>
              <a:gd name="adj" fmla="val 13079"/>
            </a:avLst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04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0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9C14DC-995F-43D8-964D-BD81E1911DD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17249"/>
            <a:ext cx="12192000" cy="416052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A39AEA0-2E69-4739-B268-4E17AAFCB76D}"/>
              </a:ext>
            </a:extLst>
          </p:cNvPr>
          <p:cNvSpPr/>
          <p:nvPr userDrawn="1"/>
        </p:nvSpPr>
        <p:spPr>
          <a:xfrm>
            <a:off x="0" y="4146977"/>
            <a:ext cx="12192000" cy="2711023"/>
          </a:xfrm>
          <a:prstGeom prst="rect">
            <a:avLst/>
          </a:prstGeom>
          <a:solidFill>
            <a:srgbClr val="0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628649" y="4575067"/>
            <a:ext cx="10934700" cy="430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93000"/>
              </a:lnSpc>
              <a:defRPr sz="2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6312CE-C289-4BB0-B832-04733478C47D}"/>
              </a:ext>
            </a:extLst>
          </p:cNvPr>
          <p:cNvSpPr txBox="1"/>
          <p:nvPr userDrawn="1"/>
        </p:nvSpPr>
        <p:spPr>
          <a:xfrm>
            <a:off x="628649" y="3152004"/>
            <a:ext cx="1693027" cy="92333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  <a:cs typeface="Henderson BCG Mod" panose="02060703040403060203" pitchFamily="18" charset="0"/>
              </a:rPr>
              <a:t>0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C333491-99AB-423C-B006-B73425B0423A}"/>
              </a:ext>
            </a:extLst>
          </p:cNvPr>
          <p:cNvSpPr/>
          <p:nvPr userDrawn="1"/>
        </p:nvSpPr>
        <p:spPr>
          <a:xfrm rot="5400000" flipH="1">
            <a:off x="685800" y="3452685"/>
            <a:ext cx="182880" cy="1554480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28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F43BA-B582-4575-9AF1-366C83B858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464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2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075E2-642E-4325-9E66-4930EFEDBC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0FBDA20-C9DC-490C-B1AF-42F96353E62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6" name="Overlay">
            <a:extLst>
              <a:ext uri="{FF2B5EF4-FFF2-40B4-BE49-F238E27FC236}">
                <a16:creationId xmlns:a16="http://schemas.microsoft.com/office/drawing/2014/main" id="{39A16FE0-C37D-4E2D-877C-84FB5D36C2B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E8EFCA-0E21-4B49-B34E-BC35016B17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925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4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E3E3434-BBCC-4475-8477-FF9EB1965B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6136C3-1D16-4A7C-8BC5-58B7CEF66A4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r="30723"/>
          <a:stretch>
            <a:fillRect/>
          </a:stretch>
        </p:blipFill>
        <p:spPr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Overlay">
            <a:extLst>
              <a:ext uri="{FF2B5EF4-FFF2-40B4-BE49-F238E27FC236}">
                <a16:creationId xmlns:a16="http://schemas.microsoft.com/office/drawing/2014/main" id="{5EDC5827-1340-42CE-99BF-F086005D193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8446239" cy="6858000"/>
          </a:xfrm>
          <a:prstGeom prst="homePlate">
            <a:avLst>
              <a:gd name="adj" fmla="val 11852"/>
            </a:avLst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3258E0-E680-40B2-B152-E8DEDB601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348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7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D0900A-DB23-4781-BC80-DBE2D7D853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A7D341-F309-4F0A-A1EC-D9FA3D2ED85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3" name="Overlay">
            <a:extLst>
              <a:ext uri="{FF2B5EF4-FFF2-40B4-BE49-F238E27FC236}">
                <a16:creationId xmlns:a16="http://schemas.microsoft.com/office/drawing/2014/main" id="{7E9916CF-26D4-47DA-9B75-B86E995805A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D0DCA1-102F-45A7-9826-5EB7EE4045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8848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A53465-CD2F-448E-BCD4-A411B2476B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EEC48D4-A87E-489F-A3BA-25639ADD13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1767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1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6E0533C-DD8A-4DD3-ABA2-0A72E64194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9" name="Overlay">
            <a:extLst>
              <a:ext uri="{FF2B5EF4-FFF2-40B4-BE49-F238E27FC236}">
                <a16:creationId xmlns:a16="http://schemas.microsoft.com/office/drawing/2014/main" id="{7FFC4AF9-A300-44F1-94B0-949D0CD0EB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A23369-6267-4380-BAB2-B35B122C1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777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9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90D6AC5-78D8-45EA-B8CA-2F2B4CDE372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2" name="Overlay">
            <a:extLst>
              <a:ext uri="{FF2B5EF4-FFF2-40B4-BE49-F238E27FC236}">
                <a16:creationId xmlns:a16="http://schemas.microsoft.com/office/drawing/2014/main" id="{59F4385F-A29B-4A13-9F40-7EC2AF0421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35DED99-0FCE-46CB-A425-7ED727010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9333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5A09E7A9-25F8-438F-AA54-097986F364A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0" name="Overlay">
            <a:extLst>
              <a:ext uri="{FF2B5EF4-FFF2-40B4-BE49-F238E27FC236}">
                <a16:creationId xmlns:a16="http://schemas.microsoft.com/office/drawing/2014/main" id="{C20056AA-F681-4888-8C37-AD918DDD3D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D82AC34-7719-402F-8A19-D09055839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51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 7">
            <a:extLst>
              <a:ext uri="{FF2B5EF4-FFF2-40B4-BE49-F238E27FC236}">
                <a16:creationId xmlns:a16="http://schemas.microsoft.com/office/drawing/2014/main" id="{952778ED-EC5B-451F-B4B6-C3D0D52EC9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99D07A-555B-4D8D-8202-C0E3454508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586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0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DAC76571-C0CC-45E2-B4DF-281DFF268A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D4FC4-6968-483A-90C0-A48FAB106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087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E5578D-7649-43A9-9984-103171FEDB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8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91B7A6F0-D389-48F1-AAEE-4E7C1340F4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B042359-1EF6-43C3-925D-00F6F5606ED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000000">
              <a:alpha val="6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64809D0D-9FE5-4FE1-BD07-1E1D9A97FA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261808" y="2775944"/>
            <a:ext cx="5041845" cy="223564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3F3245-DA7C-4CDD-9F5F-0C6C183F339B}"/>
              </a:ext>
            </a:extLst>
          </p:cNvPr>
          <p:cNvSpPr/>
          <p:nvPr userDrawn="1"/>
        </p:nvSpPr>
        <p:spPr>
          <a:xfrm flipH="1">
            <a:off x="0" y="2518416"/>
            <a:ext cx="182880" cy="2658104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419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DCB426D-00A3-4D69-B954-511F90530F5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0"/>
            <a:ext cx="12208043" cy="689008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8CDF4CF-360C-4399-BE3B-8CC7CA1D35D2}"/>
              </a:ext>
            </a:extLst>
          </p:cNvPr>
          <p:cNvSpPr/>
          <p:nvPr userDrawn="1"/>
        </p:nvSpPr>
        <p:spPr>
          <a:xfrm>
            <a:off x="-1" y="-13587"/>
            <a:ext cx="12208043" cy="6871587"/>
          </a:xfrm>
          <a:prstGeom prst="rect">
            <a:avLst/>
          </a:prstGeom>
          <a:solidFill>
            <a:srgbClr val="000000">
              <a:alpha val="6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6BCA901B-0297-4F9A-A445-86BF620DF3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040707"/>
              </a:clrFrom>
              <a:clrTo>
                <a:srgbClr val="040707">
                  <a:alpha val="0"/>
                </a:srgbClr>
              </a:clrTo>
            </a:clrChange>
          </a:blip>
          <a:srcRect r="1718" b="51704"/>
          <a:stretch/>
        </p:blipFill>
        <p:spPr>
          <a:xfrm>
            <a:off x="53262" y="3003326"/>
            <a:ext cx="5041845" cy="2235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44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000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03F3696-5C99-48F2-A92E-339FEF53874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4" name="Overlay">
            <a:extLst>
              <a:ext uri="{FF2B5EF4-FFF2-40B4-BE49-F238E27FC236}">
                <a16:creationId xmlns:a16="http://schemas.microsoft.com/office/drawing/2014/main" id="{0B873776-7DFA-4966-A19C-A7E8BED8FC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793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BF250A5-4BC3-4667-8931-E0FC7797A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1" name="Overlay">
            <a:extLst>
              <a:ext uri="{FF2B5EF4-FFF2-40B4-BE49-F238E27FC236}">
                <a16:creationId xmlns:a16="http://schemas.microsoft.com/office/drawing/2014/main" id="{74B95AEE-9507-4168-8312-D131D3B468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06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F265965-8C85-4414-A3E5-EBD1DD25BE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1" name="Overlay">
            <a:extLst>
              <a:ext uri="{FF2B5EF4-FFF2-40B4-BE49-F238E27FC236}">
                <a16:creationId xmlns:a16="http://schemas.microsoft.com/office/drawing/2014/main" id="{97C964AD-FA0D-491C-B2F5-CFB443487C1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515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2602C396-E5DD-4EB1-A5A7-448F0D1E803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1" name="Overlay">
            <a:extLst>
              <a:ext uri="{FF2B5EF4-FFF2-40B4-BE49-F238E27FC236}">
                <a16:creationId xmlns:a16="http://schemas.microsoft.com/office/drawing/2014/main" id="{D8AFA4C7-5C9B-4810-B18E-DC6D6D00B5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D5618C0-C151-408B-B3F9-96F2AFA2DB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37363" t="43832" r="15615" b="3675"/>
          <a:stretch/>
        </p:blipFill>
        <p:spPr>
          <a:xfrm rot="5400000">
            <a:off x="4698999" y="-635000"/>
            <a:ext cx="6858000" cy="8127999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15208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EB03F537-EEE5-41B1-B64A-E3B8A570AC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1259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1933747B-4AC1-43C3-BA8C-1B8F3F0F5C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003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2E23CE98-5A45-44D5-B21A-CE2C70359A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D4FC4-6968-483A-90C0-A48FAB106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615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6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D4FC4-6968-483A-90C0-A48FAB106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E5578D-7649-43A9-9984-103171FEDB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21D436-92FF-4A66-BE5F-4B6C8D5E11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78448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406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1B38D0B-82C9-42F9-8645-0BBCB189E38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2" name="Overlay">
            <a:extLst>
              <a:ext uri="{FF2B5EF4-FFF2-40B4-BE49-F238E27FC236}">
                <a16:creationId xmlns:a16="http://schemas.microsoft.com/office/drawing/2014/main" id="{88DC7E14-CA83-4901-8FA7-5E26ED537A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07E1A5D-58E3-4FB3-A7A6-2323DFC786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37363" t="43832" r="15615" b="3511"/>
          <a:stretch/>
        </p:blipFill>
        <p:spPr>
          <a:xfrm rot="5400000">
            <a:off x="4686299" y="-647700"/>
            <a:ext cx="6858000" cy="8153399"/>
          </a:xfrm>
          <a:prstGeom prst="rect">
            <a:avLst/>
          </a:prstGeom>
        </p:spPr>
      </p:pic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783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8CC013CC-4979-4CC1-B6A8-428AB658F58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1" name="Overlay">
            <a:extLst>
              <a:ext uri="{FF2B5EF4-FFF2-40B4-BE49-F238E27FC236}">
                <a16:creationId xmlns:a16="http://schemas.microsoft.com/office/drawing/2014/main" id="{F4422104-F14A-4EA1-B11A-447AADA548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3F6D8C-92C7-40F9-BF9E-4C8E2E179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378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DCBACDA-C8C8-475D-9BBE-7EF511168E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AC71BEF-7AF7-4B8B-82EE-C79DBCA190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7363" t="43832" r="15615"/>
          <a:stretch/>
        </p:blipFill>
        <p:spPr>
          <a:xfrm rot="5400000">
            <a:off x="4414443" y="-919556"/>
            <a:ext cx="6858000" cy="86971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8167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" name="think-cell Slide" r:id="rId86" imgW="270" imgH="270" progId="TCLayout.ActiveDocument.1">
                  <p:embed/>
                </p:oleObj>
              </mc:Choice>
              <mc:Fallback>
                <p:oleObj name="think-cell Slide" r:id="rId8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BEFBF3A-05EA-4502-B66F-8E5CF10C7199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187" r:id="rId4"/>
    <p:sldLayoutId id="2147485188" r:id="rId5"/>
    <p:sldLayoutId id="2147485189" r:id="rId6"/>
    <p:sldLayoutId id="2147485086" r:id="rId7"/>
    <p:sldLayoutId id="2147485192" r:id="rId8"/>
    <p:sldLayoutId id="2147485183" r:id="rId9"/>
    <p:sldLayoutId id="2147485158" r:id="rId10"/>
    <p:sldLayoutId id="2147485113" r:id="rId11"/>
    <p:sldLayoutId id="2147485114" r:id="rId12"/>
    <p:sldLayoutId id="2147485154" r:id="rId13"/>
    <p:sldLayoutId id="2147485162" r:id="rId14"/>
    <p:sldLayoutId id="2147485149" r:id="rId15"/>
    <p:sldLayoutId id="2147485087" r:id="rId16"/>
    <p:sldLayoutId id="2147485112" r:id="rId17"/>
    <p:sldLayoutId id="2147485155" r:id="rId18"/>
    <p:sldLayoutId id="2147485164" r:id="rId19"/>
    <p:sldLayoutId id="2147485109" r:id="rId20"/>
    <p:sldLayoutId id="2147485165" r:id="rId21"/>
    <p:sldLayoutId id="2147485110" r:id="rId22"/>
    <p:sldLayoutId id="2147485166" r:id="rId23"/>
    <p:sldLayoutId id="2147485156" r:id="rId24"/>
    <p:sldLayoutId id="2147485167" r:id="rId25"/>
    <p:sldLayoutId id="2147485108" r:id="rId26"/>
    <p:sldLayoutId id="2147485107" r:id="rId27"/>
    <p:sldLayoutId id="2147485106" r:id="rId28"/>
    <p:sldLayoutId id="2147485090" r:id="rId29"/>
    <p:sldLayoutId id="2147485091" r:id="rId30"/>
    <p:sldLayoutId id="2147485092" r:id="rId31"/>
    <p:sldLayoutId id="2147485093" r:id="rId32"/>
    <p:sldLayoutId id="2147485116" r:id="rId33"/>
    <p:sldLayoutId id="2147485191" r:id="rId34"/>
    <p:sldLayoutId id="2147485161" r:id="rId35"/>
    <p:sldLayoutId id="2147485159" r:id="rId36"/>
    <p:sldLayoutId id="2147485194" r:id="rId37"/>
    <p:sldLayoutId id="2147485195" r:id="rId38"/>
    <p:sldLayoutId id="2147485196" r:id="rId39"/>
    <p:sldLayoutId id="2147485197" r:id="rId40"/>
    <p:sldLayoutId id="2147485198" r:id="rId41"/>
    <p:sldLayoutId id="2147485119" r:id="rId42"/>
    <p:sldLayoutId id="2147485193" r:id="rId43"/>
    <p:sldLayoutId id="2147485184" r:id="rId44"/>
    <p:sldLayoutId id="2147485137" r:id="rId45"/>
    <p:sldLayoutId id="2147485120" r:id="rId46"/>
    <p:sldLayoutId id="2147485121" r:id="rId47"/>
    <p:sldLayoutId id="2147485141" r:id="rId48"/>
    <p:sldLayoutId id="2147485163" r:id="rId49"/>
    <p:sldLayoutId id="2147485139" r:id="rId50"/>
    <p:sldLayoutId id="2147485140" r:id="rId51"/>
    <p:sldLayoutId id="2147485122" r:id="rId52"/>
    <p:sldLayoutId id="2147485123" r:id="rId53"/>
    <p:sldLayoutId id="2147485151" r:id="rId54"/>
    <p:sldLayoutId id="2147485168" r:id="rId55"/>
    <p:sldLayoutId id="2147485127" r:id="rId56"/>
    <p:sldLayoutId id="2147485169" r:id="rId57"/>
    <p:sldLayoutId id="2147485126" r:id="rId58"/>
    <p:sldLayoutId id="2147485170" r:id="rId59"/>
    <p:sldLayoutId id="2147485153" r:id="rId60"/>
    <p:sldLayoutId id="2147485171" r:id="rId61"/>
    <p:sldLayoutId id="2147485128" r:id="rId62"/>
    <p:sldLayoutId id="2147485129" r:id="rId63"/>
    <p:sldLayoutId id="2147485130" r:id="rId64"/>
    <p:sldLayoutId id="2147485131" r:id="rId65"/>
    <p:sldLayoutId id="2147485145" r:id="rId66"/>
    <p:sldLayoutId id="2147485133" r:id="rId67"/>
    <p:sldLayoutId id="2147485144" r:id="rId68"/>
    <p:sldLayoutId id="2147485134" r:id="rId69"/>
    <p:sldLayoutId id="2147485146" r:id="rId70"/>
    <p:sldLayoutId id="2147485190" r:id="rId71"/>
    <p:sldLayoutId id="2147485160" r:id="rId72"/>
    <p:sldLayoutId id="2147485172" r:id="rId73"/>
    <p:sldLayoutId id="2147485173" r:id="rId74"/>
    <p:sldLayoutId id="2147485174" r:id="rId75"/>
    <p:sldLayoutId id="2147485175" r:id="rId76"/>
    <p:sldLayoutId id="2147485176" r:id="rId77"/>
    <p:sldLayoutId id="2147485177" r:id="rId78"/>
    <p:sldLayoutId id="2147485178" r:id="rId79"/>
    <p:sldLayoutId id="2147485179" r:id="rId80"/>
    <p:sldLayoutId id="2147485180" r:id="rId8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8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3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8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8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3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8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35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3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3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93.vml"/><Relationship Id="rId6" Type="http://schemas.openxmlformats.org/officeDocument/2006/relationships/hyperlink" Target="https://raw.githubusercontent.com/krvishwesh54/Kumar-Vishwesh/main/README.md" TargetMode="Externa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38.png"/><Relationship Id="rId2" Type="http://schemas.openxmlformats.org/officeDocument/2006/relationships/tags" Target="../tags/tag210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37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95.bin"/><Relationship Id="rId4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19.jpeg"/><Relationship Id="rId2" Type="http://schemas.openxmlformats.org/officeDocument/2006/relationships/tags" Target="../tags/tag182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39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8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41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9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4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0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43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01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4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0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46.png"/><Relationship Id="rId2" Type="http://schemas.openxmlformats.org/officeDocument/2006/relationships/tags" Target="../tags/tag220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5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0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47.png"/><Relationship Id="rId2" Type="http://schemas.openxmlformats.org/officeDocument/2006/relationships/tags" Target="../tags/tag221.xml"/><Relationship Id="rId1" Type="http://schemas.openxmlformats.org/officeDocument/2006/relationships/vmlDrawing" Target="../drawings/vmlDrawing104.vml"/><Relationship Id="rId6" Type="http://schemas.openxmlformats.org/officeDocument/2006/relationships/hyperlink" Target="https://www.the-qrcode-generator.com/" TargetMode="Externa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04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05.vml"/><Relationship Id="rId6" Type="http://schemas.openxmlformats.org/officeDocument/2006/relationships/hyperlink" Target="https://try.github.io/" TargetMode="Externa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0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image" Target="../media/image20.emf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oleObject" Target="../embeddings/oleObject80.bin"/><Relationship Id="rId2" Type="http://schemas.openxmlformats.org/officeDocument/2006/relationships/tags" Target="../tags/tag183.xml"/><Relationship Id="rId1" Type="http://schemas.openxmlformats.org/officeDocument/2006/relationships/vmlDrawing" Target="../drawings/vmlDrawing80.vml"/><Relationship Id="rId6" Type="http://schemas.openxmlformats.org/officeDocument/2006/relationships/tags" Target="../tags/tag187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86.xml"/><Relationship Id="rId10" Type="http://schemas.openxmlformats.org/officeDocument/2006/relationships/slideLayout" Target="../slideLayouts/slideLayout43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1.bin"/><Relationship Id="rId4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2.bin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tags" Target="../tags/tag196.xml"/><Relationship Id="rId7" Type="http://schemas.openxmlformats.org/officeDocument/2006/relationships/image" Target="../media/image22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3.bin"/><Relationship Id="rId10" Type="http://schemas.openxmlformats.org/officeDocument/2006/relationships/image" Target="../media/image25.sv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tags" Target="../tags/tag198.xml"/><Relationship Id="rId7" Type="http://schemas.openxmlformats.org/officeDocument/2006/relationships/image" Target="../media/image26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4.bin"/><Relationship Id="rId10" Type="http://schemas.openxmlformats.org/officeDocument/2006/relationships/image" Target="../media/image29.sv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tags" Target="../tags/tag200.xml"/><Relationship Id="rId7" Type="http://schemas.openxmlformats.org/officeDocument/2006/relationships/image" Target="../media/image30.png"/><Relationship Id="rId2" Type="http://schemas.openxmlformats.org/officeDocument/2006/relationships/tags" Target="../tags/tag199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5.bin"/><Relationship Id="rId4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hyperlink" Target="https://www.markdownguide.org/basic-syntax" TargetMode="External"/><Relationship Id="rId2" Type="http://schemas.openxmlformats.org/officeDocument/2006/relationships/tags" Target="../tags/tag201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6.bin"/><Relationship Id="rId4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71322D6-8FFD-45A7-8C6B-BF09AD8940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214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1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71322D6-8FFD-45A7-8C6B-BF09AD894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7CF6DD-87B0-4F3D-9814-A591DC6F3F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64B447B-A9F2-44E3-9DBB-5092AD87D62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SG" dirty="0"/>
              <a:t>Create your own online portfolio using </a:t>
            </a:r>
            <a:r>
              <a:rPr lang="en-SG" dirty="0" err="1"/>
              <a:t>Github</a:t>
            </a:r>
            <a:r>
              <a:rPr lang="en-SG" dirty="0"/>
              <a:t> pages</a:t>
            </a:r>
            <a:br>
              <a:rPr lang="en-SG" dirty="0"/>
            </a:br>
            <a:r>
              <a:rPr lang="en-SG" sz="3100" dirty="0">
                <a:solidFill>
                  <a:srgbClr val="29BA74"/>
                </a:solidFill>
              </a:rPr>
              <a:t>Career Development</a:t>
            </a:r>
            <a:endParaRPr lang="en-US" dirty="0">
              <a:solidFill>
                <a:srgbClr val="29BA74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0338C12-6B3D-4AA3-9418-62C6695535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38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EE9F1D-DE81-4B5B-A997-47CB0B069E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8441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10F2AF-764D-49CE-8D29-FA26996DA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 sample portfolio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E3C45C-CD10-4E94-BD0D-FAA6D8A77E21}"/>
              </a:ext>
            </a:extLst>
          </p:cNvPr>
          <p:cNvSpPr/>
          <p:nvPr/>
        </p:nvSpPr>
        <p:spPr>
          <a:xfrm>
            <a:off x="5195887" y="5721906"/>
            <a:ext cx="55996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&lt;github-user-name&gt;.github.io/&lt;your-name&gt;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574DE0-04AF-47C3-9202-6202A5ED5D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5887" y="766762"/>
            <a:ext cx="5457825" cy="453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94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EE9F1D-DE81-4B5B-A997-47CB0B069E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868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4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EE9F1D-DE81-4B5B-A997-47CB0B069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10F2AF-764D-49CE-8D29-FA26996DA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ercise: Create an online portfoli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7A38A3-A59E-4BEA-95D2-A2E005107067}"/>
              </a:ext>
            </a:extLst>
          </p:cNvPr>
          <p:cNvSpPr/>
          <p:nvPr/>
        </p:nvSpPr>
        <p:spPr>
          <a:xfrm>
            <a:off x="5164941" y="1177787"/>
            <a:ext cx="28873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reate a new GitHub rep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7F72DF-346B-494B-92AA-CA2D6879531E}"/>
              </a:ext>
            </a:extLst>
          </p:cNvPr>
          <p:cNvSpPr/>
          <p:nvPr/>
        </p:nvSpPr>
        <p:spPr>
          <a:xfrm>
            <a:off x="5164941" y="1772934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rgbClr val="292929"/>
                </a:solidFill>
                <a:ea typeface="Times New Roman" panose="02020603050405020304" pitchFamily="18" charset="0"/>
                <a:cs typeface="Henderson BCG Sans" panose="020B0502030402020204" pitchFamily="34" charset="0"/>
              </a:rPr>
              <a:t>Click the repo settings tab at the far right of the list &amp; </a:t>
            </a:r>
            <a:r>
              <a:rPr lang="en-US" dirty="0"/>
              <a:t>scroll down to the GitHub Pages section</a:t>
            </a:r>
            <a:endParaRPr lang="en-US" alt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1201E7-E45D-4D14-9519-74D765B6A165}"/>
              </a:ext>
            </a:extLst>
          </p:cNvPr>
          <p:cNvSpPr/>
          <p:nvPr/>
        </p:nvSpPr>
        <p:spPr>
          <a:xfrm>
            <a:off x="5218882" y="4112212"/>
            <a:ext cx="55210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opy the template and paste it to your README.m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BC5CF8-C776-401B-9AD7-6E0E3C75E6C9}"/>
              </a:ext>
            </a:extLst>
          </p:cNvPr>
          <p:cNvSpPr/>
          <p:nvPr/>
        </p:nvSpPr>
        <p:spPr>
          <a:xfrm>
            <a:off x="5218882" y="4705062"/>
            <a:ext cx="44518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Edit the template &amp; preview the changes</a:t>
            </a:r>
          </a:p>
        </p:txBody>
      </p:sp>
      <p:sp>
        <p:nvSpPr>
          <p:cNvPr id="16" name="Oval 20">
            <a:extLst>
              <a:ext uri="{FF2B5EF4-FFF2-40B4-BE49-F238E27FC236}">
                <a16:creationId xmlns:a16="http://schemas.microsoft.com/office/drawing/2014/main" id="{198C0685-9C02-45E7-BC27-8746A651675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59452" y="1208998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7" name="Oval 20">
            <a:extLst>
              <a:ext uri="{FF2B5EF4-FFF2-40B4-BE49-F238E27FC236}">
                <a16:creationId xmlns:a16="http://schemas.microsoft.com/office/drawing/2014/main" id="{60CEBEA2-EA56-4DD4-A058-045B2B2CE23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59452" y="1789189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" name="Oval 20">
            <a:extLst>
              <a:ext uri="{FF2B5EF4-FFF2-40B4-BE49-F238E27FC236}">
                <a16:creationId xmlns:a16="http://schemas.microsoft.com/office/drawing/2014/main" id="{29A30264-6F56-448C-A653-3F958A0ECDC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13393" y="4149729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7A4B27AE-B644-47DE-8E64-AD907C5DA85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13393" y="4702475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514D4E3-7799-4312-87B2-E602FCED7D67}"/>
              </a:ext>
            </a:extLst>
          </p:cNvPr>
          <p:cNvSpPr/>
          <p:nvPr/>
        </p:nvSpPr>
        <p:spPr>
          <a:xfrm>
            <a:off x="4618990" y="519928"/>
            <a:ext cx="17251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Steps to follow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2865A4A-30A7-4A9B-B58C-1B0A82EE215C}"/>
              </a:ext>
            </a:extLst>
          </p:cNvPr>
          <p:cNvCxnSpPr/>
          <p:nvPr/>
        </p:nvCxnSpPr>
        <p:spPr>
          <a:xfrm>
            <a:off x="4914900" y="5667244"/>
            <a:ext cx="5741377" cy="0"/>
          </a:xfrm>
          <a:prstGeom prst="line">
            <a:avLst/>
          </a:prstGeom>
          <a:ln w="12700" cap="rnd">
            <a:solidFill>
              <a:srgbClr val="171D3C"/>
            </a:solidFill>
            <a:prstDash val="dash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E8C00091-2E53-424D-B289-04F6C29CA5B3}"/>
              </a:ext>
            </a:extLst>
          </p:cNvPr>
          <p:cNvSpPr/>
          <p:nvPr/>
        </p:nvSpPr>
        <p:spPr>
          <a:xfrm>
            <a:off x="4920028" y="5882055"/>
            <a:ext cx="6096000" cy="48357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Aft>
                <a:spcPts val="600"/>
              </a:spcAft>
            </a:pPr>
            <a:r>
              <a:rPr lang="en-US" sz="2400" dirty="0">
                <a:solidFill>
                  <a:srgbClr val="171D3C"/>
                </a:solidFill>
              </a:rPr>
              <a:t>Follow along with me</a:t>
            </a:r>
          </a:p>
        </p:txBody>
      </p:sp>
      <p:sp>
        <p:nvSpPr>
          <p:cNvPr id="29" name="IllustrativeStamp">
            <a:extLst>
              <a:ext uri="{FF2B5EF4-FFF2-40B4-BE49-F238E27FC236}">
                <a16:creationId xmlns:a16="http://schemas.microsoft.com/office/drawing/2014/main" id="{3B1CCC60-8FC9-4490-B737-1FB68321502A}"/>
              </a:ext>
            </a:extLst>
          </p:cNvPr>
          <p:cNvSpPr/>
          <p:nvPr/>
        </p:nvSpPr>
        <p:spPr>
          <a:xfrm>
            <a:off x="10389100" y="544873"/>
            <a:ext cx="1225296" cy="1917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 dirty="0">
                <a:solidFill>
                  <a:schemeClr val="bg1"/>
                </a:solidFill>
              </a:rPr>
              <a:t>Time: 35 min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EEE7F44-B506-4C83-80C7-D80D0FD4A45D}"/>
              </a:ext>
            </a:extLst>
          </p:cNvPr>
          <p:cNvSpPr/>
          <p:nvPr/>
        </p:nvSpPr>
        <p:spPr>
          <a:xfrm>
            <a:off x="5164941" y="264300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Switch the source from None to master branch or main</a:t>
            </a:r>
          </a:p>
        </p:txBody>
      </p:sp>
      <p:sp>
        <p:nvSpPr>
          <p:cNvPr id="25" name="Oval 20">
            <a:extLst>
              <a:ext uri="{FF2B5EF4-FFF2-40B4-BE49-F238E27FC236}">
                <a16:creationId xmlns:a16="http://schemas.microsoft.com/office/drawing/2014/main" id="{07D05FA4-6315-4A78-803D-F4E18A59B1C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59452" y="2661952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4934597-C13F-4F13-8987-7F8E2F81DF7A}"/>
              </a:ext>
            </a:extLst>
          </p:cNvPr>
          <p:cNvSpPr/>
          <p:nvPr/>
        </p:nvSpPr>
        <p:spPr>
          <a:xfrm>
            <a:off x="5164941" y="323910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pc="-5" dirty="0">
                <a:solidFill>
                  <a:srgbClr val="292929"/>
                </a:solidFill>
                <a:ea typeface="Times New Roman" panose="02020603050405020304" pitchFamily="18" charset="0"/>
              </a:rPr>
              <a:t>Click the link at the top of the GitHub pages section to go to your new website</a:t>
            </a:r>
            <a:endParaRPr lang="en-US" dirty="0"/>
          </a:p>
        </p:txBody>
      </p:sp>
      <p:sp>
        <p:nvSpPr>
          <p:cNvPr id="31" name="Oval 20">
            <a:extLst>
              <a:ext uri="{FF2B5EF4-FFF2-40B4-BE49-F238E27FC236}">
                <a16:creationId xmlns:a16="http://schemas.microsoft.com/office/drawing/2014/main" id="{3D676BF0-4BA0-4992-9DE9-D570F1EE77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88086" y="3265287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0484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ABAA9-CB0B-47FC-99C2-0840FFCC3C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3152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1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095DA0-43F9-4A1F-B383-79F07D4BA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 dirty="0"/>
              <a:t>1. Create a new GitHub rep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E95C31-3CC0-4E74-B494-72D70C0DC3D9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30000" y="1226820"/>
            <a:ext cx="7837725" cy="481203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2FF74869-970B-4728-B93D-EE500AC5769D}"/>
              </a:ext>
            </a:extLst>
          </p:cNvPr>
          <p:cNvGrpSpPr/>
          <p:nvPr/>
        </p:nvGrpSpPr>
        <p:grpSpPr>
          <a:xfrm>
            <a:off x="4548862" y="2120185"/>
            <a:ext cx="5534025" cy="332399"/>
            <a:chOff x="5048586" y="2424986"/>
            <a:chExt cx="2094829" cy="166840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A26B488-8FF9-4585-BFEF-207181CB85E8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DB03BCE-7758-4C42-9CE1-1303B55FE5BF}"/>
                </a:ext>
              </a:extLst>
            </p:cNvPr>
            <p:cNvSpPr/>
            <p:nvPr/>
          </p:nvSpPr>
          <p:spPr>
            <a:xfrm>
              <a:off x="5378623" y="2424986"/>
              <a:ext cx="1764792" cy="1668407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Name of the repository &lt;Your-Name&gt;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93141E7-D15C-4003-B3CE-6187785DF384}"/>
              </a:ext>
            </a:extLst>
          </p:cNvPr>
          <p:cNvGrpSpPr/>
          <p:nvPr/>
        </p:nvGrpSpPr>
        <p:grpSpPr>
          <a:xfrm>
            <a:off x="4682212" y="3198953"/>
            <a:ext cx="5534025" cy="332399"/>
            <a:chOff x="5048586" y="2424986"/>
            <a:chExt cx="2094829" cy="1668407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297B365-64A7-4842-A859-F22A31E4EBDA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2D462F-54D4-435D-9566-52F88C541BD5}"/>
                </a:ext>
              </a:extLst>
            </p:cNvPr>
            <p:cNvSpPr/>
            <p:nvPr/>
          </p:nvSpPr>
          <p:spPr>
            <a:xfrm>
              <a:off x="5378623" y="2424986"/>
              <a:ext cx="1764792" cy="1668407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elect repository as Public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D825AC2-0ABD-44DA-B16A-A3187112E025}"/>
              </a:ext>
            </a:extLst>
          </p:cNvPr>
          <p:cNvGrpSpPr/>
          <p:nvPr/>
        </p:nvGrpSpPr>
        <p:grpSpPr>
          <a:xfrm>
            <a:off x="4548862" y="4207342"/>
            <a:ext cx="5534025" cy="332399"/>
            <a:chOff x="5048586" y="2424986"/>
            <a:chExt cx="2094829" cy="1668407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7EBEF1C-FE21-4F80-8D37-DA1BE62B11FE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3191BBC-E13E-42D8-B362-17F1D0CCBF71}"/>
                </a:ext>
              </a:extLst>
            </p:cNvPr>
            <p:cNvSpPr/>
            <p:nvPr/>
          </p:nvSpPr>
          <p:spPr>
            <a:xfrm>
              <a:off x="5378623" y="2424986"/>
              <a:ext cx="1764792" cy="1668407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/>
                <a:t>Check this option to have README file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26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2944F3-503C-4A0C-9BE2-73B686A202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62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DD84EA-C2C7-4F51-A1B2-3BF9EA61A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pPr lvl="0" eaLnBrk="0" fontAlgn="base" hangingPunct="0">
              <a:spcAft>
                <a:spcPct val="0"/>
              </a:spcAft>
            </a:pPr>
            <a:r>
              <a:rPr lang="en-US" altLang="en-US" dirty="0">
                <a:solidFill>
                  <a:srgbClr val="292929"/>
                </a:solidFill>
                <a:ea typeface="Times New Roman" panose="02020603050405020304" pitchFamily="18" charset="0"/>
                <a:cs typeface="Henderson BCG Sans" panose="020B0502030402020204" pitchFamily="34" charset="0"/>
              </a:rPr>
              <a:t>2. Click the repo settings tab at the far right of the list &amp; navigate to pages</a:t>
            </a:r>
            <a:endParaRPr lang="en-US" altLang="en-US" dirty="0"/>
          </a:p>
        </p:txBody>
      </p:sp>
      <p:pic>
        <p:nvPicPr>
          <p:cNvPr id="283652" name="Picture 33">
            <a:extLst>
              <a:ext uri="{FF2B5EF4-FFF2-40B4-BE49-F238E27FC236}">
                <a16:creationId xmlns:a16="http://schemas.microsoft.com/office/drawing/2014/main" id="{2BE99825-0B68-4836-A535-3307CF4150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625" y="1676949"/>
            <a:ext cx="4696420" cy="75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6">
            <a:extLst>
              <a:ext uri="{FF2B5EF4-FFF2-40B4-BE49-F238E27FC236}">
                <a16:creationId xmlns:a16="http://schemas.microsoft.com/office/drawing/2014/main" id="{FF20BC2F-8DC7-4498-97FD-4D8E88E346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650" y="2895600"/>
            <a:ext cx="920115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5EB120-46E9-4197-9C00-C495A59AD3F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6277"/>
          <a:stretch/>
        </p:blipFill>
        <p:spPr>
          <a:xfrm>
            <a:off x="809625" y="2623634"/>
            <a:ext cx="8020050" cy="3129463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671CC6B4-C63C-4A54-BB76-02B6E195A8CB}"/>
              </a:ext>
            </a:extLst>
          </p:cNvPr>
          <p:cNvGrpSpPr/>
          <p:nvPr/>
        </p:nvGrpSpPr>
        <p:grpSpPr>
          <a:xfrm>
            <a:off x="5453737" y="2032348"/>
            <a:ext cx="3480713" cy="263178"/>
            <a:chOff x="5048586" y="2424986"/>
            <a:chExt cx="2094829" cy="1668407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F26E5F1-2299-4794-BA28-62197BF5DB38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2659BBB-E164-4B7D-AECC-5BB92BD2EACF}"/>
                </a:ext>
              </a:extLst>
            </p:cNvPr>
            <p:cNvSpPr/>
            <p:nvPr/>
          </p:nvSpPr>
          <p:spPr>
            <a:xfrm>
              <a:off x="5378623" y="2424986"/>
              <a:ext cx="1764792" cy="1668407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lick on setting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F5E474A-C174-4B84-8B5B-AB3733E934D4}"/>
              </a:ext>
            </a:extLst>
          </p:cNvPr>
          <p:cNvGrpSpPr/>
          <p:nvPr/>
        </p:nvGrpSpPr>
        <p:grpSpPr>
          <a:xfrm>
            <a:off x="0" y="5307050"/>
            <a:ext cx="2193975" cy="321834"/>
            <a:chOff x="5393966" y="5198966"/>
            <a:chExt cx="6029734" cy="35876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09EBC87-1EE7-4124-9463-49C2664B9EDA}"/>
                </a:ext>
              </a:extLst>
            </p:cNvPr>
            <p:cNvGrpSpPr/>
            <p:nvPr/>
          </p:nvGrpSpPr>
          <p:grpSpPr>
            <a:xfrm rot="10800000">
              <a:off x="5889675" y="5225335"/>
              <a:ext cx="5534025" cy="332399"/>
              <a:chOff x="5048586" y="2424986"/>
              <a:chExt cx="2094829" cy="1668407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D9031370-7675-45CE-A21D-4241134F7975}"/>
                  </a:ext>
                </a:extLst>
              </p:cNvPr>
              <p:cNvCxnSpPr/>
              <p:nvPr/>
            </p:nvCxnSpPr>
            <p:spPr>
              <a:xfrm>
                <a:off x="5048586" y="3307381"/>
                <a:ext cx="323773" cy="0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5"/>
                </a:solidFill>
                <a:prstDash val="solid"/>
                <a:headEnd type="oval"/>
                <a:tailEnd type="none" w="sm" len="sm"/>
              </a:ln>
              <a:effectLst/>
            </p:spPr>
          </p:cxn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4A21CA20-623F-4C3C-8F27-637F6D1D41E3}"/>
                  </a:ext>
                </a:extLst>
              </p:cNvPr>
              <p:cNvSpPr/>
              <p:nvPr/>
            </p:nvSpPr>
            <p:spPr>
              <a:xfrm>
                <a:off x="5378623" y="2424986"/>
                <a:ext cx="1764792" cy="1668407"/>
              </a:xfrm>
              <a:prstGeom prst="rect">
                <a:avLst/>
              </a:prstGeom>
              <a:solidFill>
                <a:sysClr val="window" lastClr="FFFFFF"/>
              </a:solidFill>
              <a:ln w="19050" cap="rnd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636D51C-952E-47DB-B480-44D99BAA4384}"/>
                </a:ext>
              </a:extLst>
            </p:cNvPr>
            <p:cNvSpPr/>
            <p:nvPr/>
          </p:nvSpPr>
          <p:spPr>
            <a:xfrm>
              <a:off x="5393966" y="5198966"/>
              <a:ext cx="5307210" cy="3540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sz="1600" kern="0" dirty="0"/>
                <a:t>Click on Pag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9886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9AE7FB-6481-4842-84C1-C6425AADC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623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3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3D3F34-A268-4352-B4BF-6B550803AD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. Switch the source from None to master branch or mai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11218B5-EE17-48BF-BEA0-266B92FD7962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29999" y="1476375"/>
            <a:ext cx="7563506" cy="4426426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4C5DB3A-7BC3-4FCE-8E7E-4F458FEB0777}"/>
              </a:ext>
            </a:extLst>
          </p:cNvPr>
          <p:cNvGrpSpPr/>
          <p:nvPr/>
        </p:nvGrpSpPr>
        <p:grpSpPr>
          <a:xfrm>
            <a:off x="3529687" y="3689588"/>
            <a:ext cx="3480713" cy="263178"/>
            <a:chOff x="5048586" y="2424986"/>
            <a:chExt cx="2094829" cy="166840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B208BA7-7663-4248-998E-C91CE1012430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7DE764D-DF1D-4923-9EE9-FE8483EB313C}"/>
                </a:ext>
              </a:extLst>
            </p:cNvPr>
            <p:cNvSpPr/>
            <p:nvPr/>
          </p:nvSpPr>
          <p:spPr>
            <a:xfrm>
              <a:off x="5378623" y="2424986"/>
              <a:ext cx="1764792" cy="1668407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hange branch to mai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8818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D3A4A2-5209-40BF-BB94-160591325A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276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442132-44BC-4329-B8CE-ED77227D1C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07777"/>
          </a:xfrm>
        </p:spPr>
        <p:txBody>
          <a:bodyPr vert="horz"/>
          <a:lstStyle/>
          <a:p>
            <a:pPr>
              <a:lnSpc>
                <a:spcPts val="2400"/>
              </a:lnSpc>
              <a:spcBef>
                <a:spcPts val="1030"/>
              </a:spcBef>
            </a:pPr>
            <a:r>
              <a:rPr lang="en-US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4. Click the link at the top of the GitHub pages section to go to your new website</a:t>
            </a:r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F18232-2E35-4C0C-A807-8288A0890E2D}"/>
              </a:ext>
            </a:extLst>
          </p:cNvPr>
          <p:cNvSpPr/>
          <p:nvPr/>
        </p:nvSpPr>
        <p:spPr>
          <a:xfrm>
            <a:off x="7497286" y="3039299"/>
            <a:ext cx="3803917" cy="992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  <a:spcBef>
                <a:spcPts val="2400"/>
              </a:spcBef>
            </a:pPr>
            <a:r>
              <a:rPr lang="en-US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The web page should show the contents of the README.md of your repo.</a:t>
            </a:r>
            <a:endParaRPr lang="en-US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2BF9B5-02B5-4DC2-AE68-669D4F76EFD6}"/>
              </a:ext>
            </a:extLst>
          </p:cNvPr>
          <p:cNvSpPr/>
          <p:nvPr/>
        </p:nvSpPr>
        <p:spPr>
          <a:xfrm>
            <a:off x="7497286" y="4350646"/>
            <a:ext cx="377305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Congrats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!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you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already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have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a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working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website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. </a:t>
            </a:r>
          </a:p>
          <a:p>
            <a:endParaRPr lang="de-DE" spc="-5" dirty="0">
              <a:solidFill>
                <a:srgbClr val="292929"/>
              </a:solidFill>
              <a:latin typeface="Henderson BCG Sans" panose="020B0502030402020204" pitchFamily="34" charset="0"/>
              <a:ea typeface="Times New Roman" panose="02020603050405020304" pitchFamily="18" charset="0"/>
            </a:endParaRPr>
          </a:p>
          <a:p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If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you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are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getting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a 404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error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,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don’t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worry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.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Sometimes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it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takes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a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little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bit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of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time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for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the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server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set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r>
              <a:rPr lang="de-DE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up</a:t>
            </a:r>
            <a:r>
              <a:rPr lang="de-DE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E5D522-6AC5-4CEB-BAB6-1964BC6954AF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29999" y="1533525"/>
            <a:ext cx="5742226" cy="4369276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AA68E2D9-2904-4592-8EE7-10742B7DCB43}"/>
              </a:ext>
            </a:extLst>
          </p:cNvPr>
          <p:cNvGrpSpPr/>
          <p:nvPr/>
        </p:nvGrpSpPr>
        <p:grpSpPr>
          <a:xfrm>
            <a:off x="6286500" y="1896566"/>
            <a:ext cx="4800600" cy="823965"/>
            <a:chOff x="5048586" y="2424986"/>
            <a:chExt cx="2094829" cy="1668407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9454A59-D9FA-44EE-A111-9F90328FD8D3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A814C6A-793D-4F3E-8C77-F6B0FE5BE1BB}"/>
                </a:ext>
              </a:extLst>
            </p:cNvPr>
            <p:cNvSpPr/>
            <p:nvPr/>
          </p:nvSpPr>
          <p:spPr>
            <a:xfrm>
              <a:off x="5378623" y="2424986"/>
              <a:ext cx="1764792" cy="1668407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Once the branch is changed to main, you can access your website through this UR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9459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FBEBE3-DE68-437A-B95A-6AA4653BB1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333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8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6D05FB-1070-42F7-9EE0-43AA60B4A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5. Copy the template and paste it to your README.m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D1EDCAC-387E-4C15-8D8F-7F2044FE73C4}"/>
              </a:ext>
            </a:extLst>
          </p:cNvPr>
          <p:cNvSpPr/>
          <p:nvPr/>
        </p:nvSpPr>
        <p:spPr>
          <a:xfrm>
            <a:off x="1183104" y="3995897"/>
            <a:ext cx="91760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https://raw.githubusercontent.com/krvishwesh54/Kumar-Vishwesh/main/README.md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BF7C9C-EBC8-4C2A-9DB7-6B26D9E8FF01}"/>
              </a:ext>
            </a:extLst>
          </p:cNvPr>
          <p:cNvSpPr/>
          <p:nvPr/>
        </p:nvSpPr>
        <p:spPr>
          <a:xfrm>
            <a:off x="1856873" y="2290882"/>
            <a:ext cx="75879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Follow the link below and copy the content to Your README.md fil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4CA5A45-8688-432D-B8F2-2323D3DB3362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5343920" y="3174600"/>
            <a:ext cx="306910" cy="306910"/>
            <a:chOff x="982662" y="1847850"/>
            <a:chExt cx="269875" cy="269875"/>
          </a:xfrm>
        </p:grpSpPr>
        <p:sp>
          <p:nvSpPr>
            <p:cNvPr id="16" name="Oval 50">
              <a:extLst>
                <a:ext uri="{FF2B5EF4-FFF2-40B4-BE49-F238E27FC236}">
                  <a16:creationId xmlns:a16="http://schemas.microsoft.com/office/drawing/2014/main" id="{28DA5081-5A87-47EC-A6D8-E8D1AA00A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51">
              <a:extLst>
                <a:ext uri="{FF2B5EF4-FFF2-40B4-BE49-F238E27FC236}">
                  <a16:creationId xmlns:a16="http://schemas.microsoft.com/office/drawing/2014/main" id="{06EB6A02-5C4D-4D1F-948A-9DEE62010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7D46A175-EF3A-4440-9EBE-B3AF945F0821}"/>
              </a:ext>
            </a:extLst>
          </p:cNvPr>
          <p:cNvSpPr/>
          <p:nvPr/>
        </p:nvSpPr>
        <p:spPr>
          <a:xfrm>
            <a:off x="1519987" y="4817193"/>
            <a:ext cx="8382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Once you have saved README, your URL will start hosting the copied content</a:t>
            </a:r>
          </a:p>
        </p:txBody>
      </p:sp>
    </p:spTree>
    <p:extLst>
      <p:ext uri="{BB962C8B-B14F-4D97-AF65-F5344CB8AC3E}">
        <p14:creationId xmlns:p14="http://schemas.microsoft.com/office/powerpoint/2010/main" val="174736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AF03DE5-EFC2-4AF2-B99F-8810816CC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303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0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B134BE-51AC-4634-9BF8-61BD1C18A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6. Edit the template &amp; preview the chang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E03134-3C0C-4F4F-A343-A490472D7B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81537" y="4446677"/>
            <a:ext cx="6419850" cy="10763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EBB6AEF-7CE8-414F-A8D2-1D7539CB8D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5957" y="1744275"/>
            <a:ext cx="10291011" cy="191332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8342A81-AEBB-4323-A5F8-FD40251BC541}"/>
              </a:ext>
            </a:extLst>
          </p:cNvPr>
          <p:cNvSpPr txBox="1"/>
          <p:nvPr/>
        </p:nvSpPr>
        <p:spPr>
          <a:xfrm>
            <a:off x="938463" y="1311442"/>
            <a:ext cx="5486400" cy="21656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Navigate to README file and click on edit ic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4DAA34-C0A0-497E-9CD5-20CB4EDA033C}"/>
              </a:ext>
            </a:extLst>
          </p:cNvPr>
          <p:cNvSpPr txBox="1"/>
          <p:nvPr/>
        </p:nvSpPr>
        <p:spPr>
          <a:xfrm>
            <a:off x="938463" y="3991676"/>
            <a:ext cx="5486400" cy="21656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ile editing you can also preview chang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07C67C-0EFC-439A-8A16-8008EBDA4C6C}"/>
              </a:ext>
            </a:extLst>
          </p:cNvPr>
          <p:cNvGrpSpPr/>
          <p:nvPr/>
        </p:nvGrpSpPr>
        <p:grpSpPr>
          <a:xfrm>
            <a:off x="10066343" y="2913360"/>
            <a:ext cx="1801807" cy="960505"/>
            <a:chOff x="5048586" y="2424986"/>
            <a:chExt cx="2094829" cy="1668407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71E6A93-FE18-4250-B869-DEAF7715D315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5020207-7F77-4D8F-B97B-4C7DC6BF370C}"/>
                </a:ext>
              </a:extLst>
            </p:cNvPr>
            <p:cNvSpPr/>
            <p:nvPr/>
          </p:nvSpPr>
          <p:spPr>
            <a:xfrm>
              <a:off x="5378623" y="2424986"/>
              <a:ext cx="1764792" cy="1668407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lick the edit icon to start editing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82151BB-629C-47D8-9470-D21138A6D2C5}"/>
              </a:ext>
            </a:extLst>
          </p:cNvPr>
          <p:cNvGrpSpPr/>
          <p:nvPr/>
        </p:nvGrpSpPr>
        <p:grpSpPr>
          <a:xfrm>
            <a:off x="5444212" y="5089873"/>
            <a:ext cx="4176038" cy="329852"/>
            <a:chOff x="5048586" y="2424986"/>
            <a:chExt cx="2094829" cy="1668407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2F479BF-9794-4090-9B98-C34F42822B3B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E5414B6-72E4-41BE-B072-061076CC71C9}"/>
                </a:ext>
              </a:extLst>
            </p:cNvPr>
            <p:cNvSpPr/>
            <p:nvPr/>
          </p:nvSpPr>
          <p:spPr>
            <a:xfrm>
              <a:off x="5378623" y="2424986"/>
              <a:ext cx="1764792" cy="1668407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Preview changes by clicking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135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772F67-AC62-4EF2-A01B-A3FCC039D0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89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4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772F67-AC62-4EF2-A01B-A3FCC039D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980503-5168-4602-B893-F39CAF9CE0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189FE2-A07F-49C2-8BED-C3DDC12EA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800" dirty="0"/>
              <a:t>Online Portfolio: Guidelines on how to edit the sections of your portfolio</a:t>
            </a:r>
          </a:p>
        </p:txBody>
      </p:sp>
    </p:spTree>
    <p:extLst>
      <p:ext uri="{BB962C8B-B14F-4D97-AF65-F5344CB8AC3E}">
        <p14:creationId xmlns:p14="http://schemas.microsoft.com/office/powerpoint/2010/main" val="201669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2D6093-C92C-45B7-91A4-FF381A52EA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59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3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DD973E-765E-4A87-8AAB-12413D94A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nline Portfolio: Section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7E9B63E-A9A4-46D3-AEB3-5ED86B684658}"/>
              </a:ext>
            </a:extLst>
          </p:cNvPr>
          <p:cNvGrpSpPr/>
          <p:nvPr/>
        </p:nvGrpSpPr>
        <p:grpSpPr>
          <a:xfrm>
            <a:off x="630000" y="2133252"/>
            <a:ext cx="10933349" cy="263149"/>
            <a:chOff x="630000" y="2173008"/>
            <a:chExt cx="10933349" cy="26314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01E2363-40F7-4992-BE16-674667ECDDB3}"/>
                </a:ext>
              </a:extLst>
            </p:cNvPr>
            <p:cNvSpPr txBox="1"/>
            <p:nvPr/>
          </p:nvSpPr>
          <p:spPr>
            <a:xfrm>
              <a:off x="630000" y="2173008"/>
              <a:ext cx="1544052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tx2"/>
                      </a:gs>
                      <a:gs pos="100000">
                        <a:schemeClr val="accent2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2"/>
                  </a:solidFill>
                </a:rPr>
                <a:t>Contact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248E216-4025-41E6-8B05-503D7C1E1FA7}"/>
                </a:ext>
              </a:extLst>
            </p:cNvPr>
            <p:cNvSpPr txBox="1"/>
            <p:nvPr/>
          </p:nvSpPr>
          <p:spPr>
            <a:xfrm>
              <a:off x="2443761" y="2173008"/>
              <a:ext cx="9119588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bg1">
                          <a:lumMod val="75000"/>
                        </a:schemeClr>
                      </a:gs>
                      <a:gs pos="95000">
                        <a:schemeClr val="accent5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1"/>
                  </a:solidFill>
                </a:rPr>
                <a:t>Your contact details, Online Profile like </a:t>
              </a:r>
              <a:r>
                <a:rPr lang="en-US" dirty="0" err="1">
                  <a:solidFill>
                    <a:schemeClr val="tx1"/>
                  </a:solidFill>
                </a:rPr>
                <a:t>Linkedin</a:t>
              </a:r>
              <a:r>
                <a:rPr lang="en-US" dirty="0">
                  <a:solidFill>
                    <a:schemeClr val="tx1"/>
                  </a:solidFill>
                </a:rPr>
                <a:t> etc.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197668-207B-4C92-BA0B-DDD763C4CCBA}"/>
              </a:ext>
            </a:extLst>
          </p:cNvPr>
          <p:cNvGrpSpPr/>
          <p:nvPr/>
        </p:nvGrpSpPr>
        <p:grpSpPr>
          <a:xfrm>
            <a:off x="630000" y="2873258"/>
            <a:ext cx="10933349" cy="263149"/>
            <a:chOff x="630000" y="2897111"/>
            <a:chExt cx="10933349" cy="26314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2EFE014-4B12-4E2B-8F17-F49B3101DDAD}"/>
                </a:ext>
              </a:extLst>
            </p:cNvPr>
            <p:cNvSpPr txBox="1"/>
            <p:nvPr/>
          </p:nvSpPr>
          <p:spPr>
            <a:xfrm>
              <a:off x="630000" y="2897111"/>
              <a:ext cx="1544052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tx2"/>
                      </a:gs>
                      <a:gs pos="100000">
                        <a:schemeClr val="accent2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2"/>
                  </a:solidFill>
                </a:rPr>
                <a:t>About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12ED908-861F-4CF3-9AE4-F974CF1F8C4C}"/>
                </a:ext>
              </a:extLst>
            </p:cNvPr>
            <p:cNvSpPr txBox="1"/>
            <p:nvPr/>
          </p:nvSpPr>
          <p:spPr>
            <a:xfrm>
              <a:off x="2443761" y="2897111"/>
              <a:ext cx="9119588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bg1">
                          <a:lumMod val="75000"/>
                        </a:schemeClr>
                      </a:gs>
                      <a:gs pos="95000">
                        <a:schemeClr val="accent5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1"/>
                  </a:solidFill>
                </a:rPr>
                <a:t>A crisp introduction showcasing your gained expertise and roles played (aspiring roles)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BC98D19-5D8D-4AFE-9264-236A7258BA66}"/>
              </a:ext>
            </a:extLst>
          </p:cNvPr>
          <p:cNvGrpSpPr/>
          <p:nvPr/>
        </p:nvGrpSpPr>
        <p:grpSpPr>
          <a:xfrm>
            <a:off x="630000" y="3613264"/>
            <a:ext cx="10933349" cy="263149"/>
            <a:chOff x="630000" y="3621214"/>
            <a:chExt cx="10933349" cy="26314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DF26F1B-75BE-4DA0-A2E4-085753F64D8D}"/>
                </a:ext>
              </a:extLst>
            </p:cNvPr>
            <p:cNvSpPr txBox="1"/>
            <p:nvPr/>
          </p:nvSpPr>
          <p:spPr>
            <a:xfrm>
              <a:off x="630000" y="3621214"/>
              <a:ext cx="1544052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tx2"/>
                      </a:gs>
                      <a:gs pos="100000">
                        <a:schemeClr val="accent2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2"/>
                  </a:solidFill>
                </a:rPr>
                <a:t>Experienc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E7C94EB-1C92-4192-8D9C-CA16C8311143}"/>
                </a:ext>
              </a:extLst>
            </p:cNvPr>
            <p:cNvSpPr txBox="1"/>
            <p:nvPr/>
          </p:nvSpPr>
          <p:spPr>
            <a:xfrm>
              <a:off x="2443761" y="3621214"/>
              <a:ext cx="9119588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bg1">
                          <a:lumMod val="75000"/>
                        </a:schemeClr>
                      </a:gs>
                      <a:gs pos="95000">
                        <a:schemeClr val="accent5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1"/>
                  </a:solidFill>
                </a:rPr>
                <a:t>Professional Experience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A058FE0-EFC1-4424-A7AE-FA642FEF73B9}"/>
              </a:ext>
            </a:extLst>
          </p:cNvPr>
          <p:cNvGrpSpPr/>
          <p:nvPr/>
        </p:nvGrpSpPr>
        <p:grpSpPr>
          <a:xfrm>
            <a:off x="610951" y="4353270"/>
            <a:ext cx="10952398" cy="263149"/>
            <a:chOff x="610951" y="4345317"/>
            <a:chExt cx="10952398" cy="263149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FB918C9-7DFC-46E5-8C99-CB5D48B70286}"/>
                </a:ext>
              </a:extLst>
            </p:cNvPr>
            <p:cNvSpPr txBox="1"/>
            <p:nvPr/>
          </p:nvSpPr>
          <p:spPr>
            <a:xfrm>
              <a:off x="610951" y="4345317"/>
              <a:ext cx="1544052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tx2"/>
                      </a:gs>
                      <a:gs pos="100000">
                        <a:schemeClr val="accent2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2"/>
                  </a:solidFill>
                </a:rPr>
                <a:t>Education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8DD2775-8DE9-4A9B-BEE5-535892A442EE}"/>
                </a:ext>
              </a:extLst>
            </p:cNvPr>
            <p:cNvSpPr txBox="1"/>
            <p:nvPr/>
          </p:nvSpPr>
          <p:spPr>
            <a:xfrm>
              <a:off x="2443761" y="4345317"/>
              <a:ext cx="9119588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bg1">
                          <a:lumMod val="75000"/>
                        </a:schemeClr>
                      </a:gs>
                      <a:gs pos="95000">
                        <a:schemeClr val="accent5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1"/>
                  </a:solidFill>
                </a:rPr>
                <a:t>Educational Qualification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8B42930-8678-45FA-953A-84EA64F2EE98}"/>
              </a:ext>
            </a:extLst>
          </p:cNvPr>
          <p:cNvGrpSpPr/>
          <p:nvPr/>
        </p:nvGrpSpPr>
        <p:grpSpPr>
          <a:xfrm>
            <a:off x="610951" y="5093276"/>
            <a:ext cx="10952398" cy="263149"/>
            <a:chOff x="610951" y="5069420"/>
            <a:chExt cx="10952398" cy="263149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061B65A-7A41-4E12-AE91-3C90BADA0507}"/>
                </a:ext>
              </a:extLst>
            </p:cNvPr>
            <p:cNvSpPr txBox="1"/>
            <p:nvPr/>
          </p:nvSpPr>
          <p:spPr>
            <a:xfrm>
              <a:off x="610951" y="5069420"/>
              <a:ext cx="1544052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tx2"/>
                      </a:gs>
                      <a:gs pos="100000">
                        <a:schemeClr val="accent2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2"/>
                  </a:solidFill>
                </a:rPr>
                <a:t>Project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B119631-C307-48F4-8261-A40BACB6048E}"/>
                </a:ext>
              </a:extLst>
            </p:cNvPr>
            <p:cNvSpPr txBox="1"/>
            <p:nvPr/>
          </p:nvSpPr>
          <p:spPr>
            <a:xfrm>
              <a:off x="2443761" y="5069420"/>
              <a:ext cx="9119588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bg1">
                          <a:lumMod val="75000"/>
                        </a:schemeClr>
                      </a:gs>
                      <a:gs pos="95000">
                        <a:schemeClr val="accent5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1"/>
                  </a:solidFill>
                </a:rPr>
                <a:t>Links to your projects with supporting headline, image etc.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0806693-CC7A-4D15-BB86-EDBEB08BE877}"/>
              </a:ext>
            </a:extLst>
          </p:cNvPr>
          <p:cNvGrpSpPr/>
          <p:nvPr/>
        </p:nvGrpSpPr>
        <p:grpSpPr>
          <a:xfrm>
            <a:off x="610951" y="5833281"/>
            <a:ext cx="10952398" cy="263149"/>
            <a:chOff x="610951" y="5793525"/>
            <a:chExt cx="10952398" cy="26314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52EBE84-4ECE-4D28-AF92-040A5403D707}"/>
                </a:ext>
              </a:extLst>
            </p:cNvPr>
            <p:cNvSpPr txBox="1"/>
            <p:nvPr/>
          </p:nvSpPr>
          <p:spPr>
            <a:xfrm>
              <a:off x="610951" y="5793525"/>
              <a:ext cx="1544052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tx2"/>
                      </a:gs>
                      <a:gs pos="100000">
                        <a:schemeClr val="accent2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2"/>
                  </a:solidFill>
                </a:rPr>
                <a:t>Feature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0A167A8-CDBF-430D-AE02-0EB12FB0FE5C}"/>
                </a:ext>
              </a:extLst>
            </p:cNvPr>
            <p:cNvSpPr txBox="1"/>
            <p:nvPr/>
          </p:nvSpPr>
          <p:spPr>
            <a:xfrm>
              <a:off x="2443761" y="5793525"/>
              <a:ext cx="9119588" cy="263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gradFill flip="none" rotWithShape="1">
                    <a:gsLst>
                      <a:gs pos="0">
                        <a:schemeClr val="bg1">
                          <a:lumMod val="75000"/>
                        </a:schemeClr>
                      </a:gs>
                      <a:gs pos="95000">
                        <a:schemeClr val="accent5"/>
                      </a:gs>
                    </a:gsLst>
                    <a:lin ang="13500000" scaled="1"/>
                    <a:tileRect/>
                  </a:gra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defRPr>
              </a:lvl1pPr>
            </a:lstStyle>
            <a:p>
              <a:pPr algn="l"/>
              <a:r>
                <a:rPr lang="en-US" dirty="0">
                  <a:solidFill>
                    <a:schemeClr val="tx1"/>
                  </a:solidFill>
                </a:rPr>
                <a:t>List out certifications, achievements etc.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DD067FE0-11BA-4AD6-B48A-722A1082437F}"/>
              </a:ext>
            </a:extLst>
          </p:cNvPr>
          <p:cNvSpPr/>
          <p:nvPr/>
        </p:nvSpPr>
        <p:spPr>
          <a:xfrm>
            <a:off x="630000" y="1379438"/>
            <a:ext cx="10933350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dirty="0"/>
              <a:t>In the template provided, we have six sections:</a:t>
            </a:r>
          </a:p>
        </p:txBody>
      </p:sp>
    </p:spTree>
    <p:extLst>
      <p:ext uri="{BB962C8B-B14F-4D97-AF65-F5344CB8AC3E}">
        <p14:creationId xmlns:p14="http://schemas.microsoft.com/office/powerpoint/2010/main" val="3194260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154B53-35F4-4E96-8A8B-50FDE6644D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154B53-35F4-4E96-8A8B-50FDE6644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153C12F-798E-4B75-A29D-5D79D1895E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092" y="0"/>
            <a:ext cx="46101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58D658C-40E9-43F0-9764-ED4D8C421C9E}"/>
              </a:ext>
            </a:extLst>
          </p:cNvPr>
          <p:cNvSpPr/>
          <p:nvPr/>
        </p:nvSpPr>
        <p:spPr>
          <a:xfrm>
            <a:off x="-1092" y="0"/>
            <a:ext cx="4609380" cy="6857999"/>
          </a:xfrm>
          <a:prstGeom prst="rect">
            <a:avLst/>
          </a:prstGeom>
          <a:solidFill>
            <a:srgbClr val="000000">
              <a:alpha val="51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C5B33E-116B-40F0-AA1D-63514D437AC3}"/>
              </a:ext>
            </a:extLst>
          </p:cNvPr>
          <p:cNvSpPr/>
          <p:nvPr/>
        </p:nvSpPr>
        <p:spPr>
          <a:xfrm flipH="1">
            <a:off x="4433930" y="1233771"/>
            <a:ext cx="182880" cy="822960"/>
          </a:xfrm>
          <a:prstGeom prst="rect">
            <a:avLst/>
          </a:prstGeom>
          <a:solidFill>
            <a:schemeClr val="accent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948385-2EDC-43EA-82F8-3E9523EF77E4}"/>
              </a:ext>
            </a:extLst>
          </p:cNvPr>
          <p:cNvSpPr txBox="1"/>
          <p:nvPr/>
        </p:nvSpPr>
        <p:spPr>
          <a:xfrm>
            <a:off x="384676" y="1399030"/>
            <a:ext cx="3862471" cy="49244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3200" dirty="0">
                <a:solidFill>
                  <a:schemeClr val="bg1"/>
                </a:solidFill>
                <a:sym typeface="+mn-lt"/>
              </a:rPr>
              <a:t>Cont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F4AA471-6635-43E4-883C-158A2BCFBA01}"/>
              </a:ext>
            </a:extLst>
          </p:cNvPr>
          <p:cNvSpPr/>
          <p:nvPr/>
        </p:nvSpPr>
        <p:spPr>
          <a:xfrm>
            <a:off x="4930656" y="1530575"/>
            <a:ext cx="4627521" cy="5458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rgbClr val="000000"/>
                </a:solidFill>
                <a:sym typeface="+mn-lt"/>
              </a:rPr>
              <a:t>Where Are We in the Journey &amp; Learning Objectiv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B1422F-8056-47E4-8BA9-0801CD1A4C08}"/>
              </a:ext>
            </a:extLst>
          </p:cNvPr>
          <p:cNvSpPr/>
          <p:nvPr/>
        </p:nvSpPr>
        <p:spPr>
          <a:xfrm>
            <a:off x="4930656" y="2532895"/>
            <a:ext cx="4627521" cy="7694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rgbClr val="000000"/>
                </a:solidFill>
                <a:sym typeface="+mn-lt"/>
              </a:rPr>
              <a:t>Agenda for Today</a:t>
            </a:r>
          </a:p>
          <a:p>
            <a:pPr marL="432000" lvl="1" indent="-288000">
              <a:buClr>
                <a:srgbClr val="171D3C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Online portfolios</a:t>
            </a:r>
          </a:p>
          <a:p>
            <a:pPr marL="432000" lvl="1" indent="-288000">
              <a:buClr>
                <a:srgbClr val="171D3C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Hands 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F65949-2B80-49AC-9F8A-62E549795DE3}"/>
              </a:ext>
            </a:extLst>
          </p:cNvPr>
          <p:cNvSpPr/>
          <p:nvPr/>
        </p:nvSpPr>
        <p:spPr>
          <a:xfrm>
            <a:off x="4930656" y="3752356"/>
            <a:ext cx="4627521" cy="5458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rgbClr val="000000"/>
                </a:solidFill>
                <a:sym typeface="+mn-lt"/>
              </a:rPr>
              <a:t>Reflections &amp; Takeaway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9EBD75D-E551-4083-BFFC-5B13CBD67DA1}"/>
              </a:ext>
            </a:extLst>
          </p:cNvPr>
          <p:cNvCxnSpPr/>
          <p:nvPr/>
        </p:nvCxnSpPr>
        <p:spPr>
          <a:xfrm>
            <a:off x="4930656" y="2247597"/>
            <a:ext cx="6631344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35A894B-D284-433D-B316-783AA84CE721}"/>
              </a:ext>
            </a:extLst>
          </p:cNvPr>
          <p:cNvCxnSpPr/>
          <p:nvPr/>
        </p:nvCxnSpPr>
        <p:spPr>
          <a:xfrm>
            <a:off x="4930656" y="3581207"/>
            <a:ext cx="6631344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853FB98-5BE4-4C50-9EC0-672D6909166E}"/>
              </a:ext>
            </a:extLst>
          </p:cNvPr>
          <p:cNvCxnSpPr/>
          <p:nvPr/>
        </p:nvCxnSpPr>
        <p:spPr>
          <a:xfrm>
            <a:off x="4930656" y="4469378"/>
            <a:ext cx="6631344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01BEBD48-BA9E-44BB-B41D-A0AADE63D20E}"/>
              </a:ext>
            </a:extLst>
          </p:cNvPr>
          <p:cNvSpPr/>
          <p:nvPr/>
        </p:nvSpPr>
        <p:spPr>
          <a:xfrm>
            <a:off x="10517852" y="1530575"/>
            <a:ext cx="1044148" cy="5458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sym typeface="+mn-lt"/>
              </a:rPr>
              <a:t>5 mi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C5A7D77-0DD8-472D-9B08-C413CF398DB4}"/>
              </a:ext>
            </a:extLst>
          </p:cNvPr>
          <p:cNvSpPr/>
          <p:nvPr/>
        </p:nvSpPr>
        <p:spPr>
          <a:xfrm>
            <a:off x="10517852" y="2649832"/>
            <a:ext cx="1044148" cy="7694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sym typeface="+mn-lt"/>
              </a:rPr>
              <a:t>15 min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sym typeface="+mn-lt"/>
              </a:rPr>
              <a:t>35 mi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DFF2FCA-0D4D-4560-BCFB-125F786C1D9B}"/>
              </a:ext>
            </a:extLst>
          </p:cNvPr>
          <p:cNvSpPr/>
          <p:nvPr/>
        </p:nvSpPr>
        <p:spPr>
          <a:xfrm>
            <a:off x="10517852" y="3752356"/>
            <a:ext cx="1044148" cy="5458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sym typeface="+mn-lt"/>
              </a:rPr>
              <a:t>5 mi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00BEF40-F757-42E2-9571-B1B27B4878F8}"/>
              </a:ext>
            </a:extLst>
          </p:cNvPr>
          <p:cNvSpPr/>
          <p:nvPr/>
        </p:nvSpPr>
        <p:spPr>
          <a:xfrm>
            <a:off x="10517852" y="696257"/>
            <a:ext cx="1044148" cy="545873"/>
          </a:xfrm>
          <a:prstGeom prst="rect">
            <a:avLst/>
          </a:prstGeom>
          <a:noFill/>
          <a:ln w="2857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rgbClr val="2E3558"/>
                </a:solidFill>
                <a:sym typeface="+mn-lt"/>
              </a:rPr>
              <a:t>60 min</a:t>
            </a:r>
          </a:p>
        </p:txBody>
      </p:sp>
    </p:spTree>
    <p:extLst>
      <p:ext uri="{BB962C8B-B14F-4D97-AF65-F5344CB8AC3E}">
        <p14:creationId xmlns:p14="http://schemas.microsoft.com/office/powerpoint/2010/main" val="305665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DE9E31-7AEC-492B-8771-3CECD2FD4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015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5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77457C-4702-4D8A-B20A-A1033F630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4535" y="3232898"/>
            <a:ext cx="1337023" cy="33239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CONTAC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830D5A-9FD9-4B64-A014-99DC2AB966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0442" y="2179219"/>
            <a:ext cx="6456947" cy="24288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1457EB9-5869-4468-BEFD-E704F570152F}"/>
              </a:ext>
            </a:extLst>
          </p:cNvPr>
          <p:cNvSpPr txBox="1"/>
          <p:nvPr/>
        </p:nvSpPr>
        <p:spPr>
          <a:xfrm>
            <a:off x="2306052" y="2466474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### is to control size of the tex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3517F0-80A0-4E55-BD2A-6A07FA6CBCBE}"/>
              </a:ext>
            </a:extLst>
          </p:cNvPr>
          <p:cNvSpPr txBox="1"/>
          <p:nvPr/>
        </p:nvSpPr>
        <p:spPr>
          <a:xfrm>
            <a:off x="2306052" y="2919928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Add your detail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662697-D02D-4923-AD1D-77B26E306D02}"/>
              </a:ext>
            </a:extLst>
          </p:cNvPr>
          <p:cNvSpPr txBox="1"/>
          <p:nvPr/>
        </p:nvSpPr>
        <p:spPr>
          <a:xfrm>
            <a:off x="2486527" y="3373382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&amp;</a:t>
            </a:r>
            <a:r>
              <a:rPr lang="en-US" sz="1200" dirty="0" err="1">
                <a:solidFill>
                  <a:schemeClr val="accent3"/>
                </a:solidFill>
              </a:rPr>
              <a:t>nbsp</a:t>
            </a:r>
            <a:r>
              <a:rPr lang="en-US" sz="1200" dirty="0">
                <a:solidFill>
                  <a:schemeClr val="accent3"/>
                </a:solidFill>
              </a:rPr>
              <a:t> is to provide inline sp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53B34F-D047-43BB-97A0-5AEC34B4D373}"/>
              </a:ext>
            </a:extLst>
          </p:cNvPr>
          <p:cNvSpPr txBox="1"/>
          <p:nvPr/>
        </p:nvSpPr>
        <p:spPr>
          <a:xfrm>
            <a:off x="5807241" y="3658339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Format to add link</a:t>
            </a:r>
          </a:p>
        </p:txBody>
      </p:sp>
    </p:spTree>
    <p:extLst>
      <p:ext uri="{BB962C8B-B14F-4D97-AF65-F5344CB8AC3E}">
        <p14:creationId xmlns:p14="http://schemas.microsoft.com/office/powerpoint/2010/main" val="353468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717BC3-560A-44C1-AD8D-76D78B0CA3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5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7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DA8F782-FABB-417A-96A5-F54D6DE613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824" y="1628775"/>
            <a:ext cx="8101583" cy="41824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60EBE95-F94A-4C0F-83C5-016693838797}"/>
              </a:ext>
            </a:extLst>
          </p:cNvPr>
          <p:cNvSpPr txBox="1"/>
          <p:nvPr/>
        </p:nvSpPr>
        <p:spPr>
          <a:xfrm>
            <a:off x="4110789" y="2396243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Add URL to your imag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51342D-20AC-4E15-AD59-0D1269BDB127}"/>
              </a:ext>
            </a:extLst>
          </p:cNvPr>
          <p:cNvSpPr txBox="1"/>
          <p:nvPr/>
        </p:nvSpPr>
        <p:spPr>
          <a:xfrm>
            <a:off x="1740568" y="2827421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Add your details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1B953B-633E-435F-886D-8F266A2956D5}"/>
              </a:ext>
            </a:extLst>
          </p:cNvPr>
          <p:cNvSpPr txBox="1"/>
          <p:nvPr/>
        </p:nvSpPr>
        <p:spPr>
          <a:xfrm>
            <a:off x="2257926" y="4192266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Add links to your sections to be created</a:t>
            </a:r>
          </a:p>
        </p:txBody>
      </p:sp>
      <p:sp>
        <p:nvSpPr>
          <p:cNvPr id="9" name="ee4pFootnotes">
            <a:extLst>
              <a:ext uri="{FF2B5EF4-FFF2-40B4-BE49-F238E27FC236}">
                <a16:creationId xmlns:a16="http://schemas.microsoft.com/office/drawing/2014/main" id="{98AF3C27-9C35-42AA-B626-9923A09598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282941"/>
            <a:ext cx="8176168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If you do not have URL of your image, you need to create a separate images folder in your </a:t>
            </a:r>
            <a:r>
              <a:rPr lang="en-US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github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 repository and upload images there.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Then you can get raw </a:t>
            </a:r>
            <a:r>
              <a:rPr lang="en-US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github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 URL that you can provide here in the layout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46126F-86F1-48C4-B3A0-57BF9D24EBD2}"/>
              </a:ext>
            </a:extLst>
          </p:cNvPr>
          <p:cNvSpPr txBox="1">
            <a:spLocks/>
          </p:cNvSpPr>
          <p:nvPr/>
        </p:nvSpPr>
        <p:spPr>
          <a:xfrm>
            <a:off x="9924535" y="3232898"/>
            <a:ext cx="133702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BOUT</a:t>
            </a:r>
          </a:p>
        </p:txBody>
      </p:sp>
    </p:spTree>
    <p:extLst>
      <p:ext uri="{BB962C8B-B14F-4D97-AF65-F5344CB8AC3E}">
        <p14:creationId xmlns:p14="http://schemas.microsoft.com/office/powerpoint/2010/main" val="42477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82941-2482-4764-9A95-CF8AD23C5E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334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2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F061395-73EB-4BE3-8509-CD5AFA7435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" y="1967023"/>
            <a:ext cx="8101584" cy="34343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CEB2E14-EF0F-44E6-B7A7-34967BC9C5BF}"/>
              </a:ext>
            </a:extLst>
          </p:cNvPr>
          <p:cNvSpPr txBox="1"/>
          <p:nvPr/>
        </p:nvSpPr>
        <p:spPr>
          <a:xfrm>
            <a:off x="1656347" y="2442411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Add your details he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5BEEAEE-EB4C-4483-9DB2-93AB4DEF27E2}"/>
              </a:ext>
            </a:extLst>
          </p:cNvPr>
          <p:cNvSpPr txBox="1">
            <a:spLocks/>
          </p:cNvSpPr>
          <p:nvPr/>
        </p:nvSpPr>
        <p:spPr>
          <a:xfrm>
            <a:off x="9786311" y="3262800"/>
            <a:ext cx="1695965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EXPERIENCE</a:t>
            </a:r>
          </a:p>
        </p:txBody>
      </p:sp>
    </p:spTree>
    <p:extLst>
      <p:ext uri="{BB962C8B-B14F-4D97-AF65-F5344CB8AC3E}">
        <p14:creationId xmlns:p14="http://schemas.microsoft.com/office/powerpoint/2010/main" val="4091948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80F5863-4FD7-4D51-8A89-3E9D890AAC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5502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0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2C735C0-0C67-49F7-876D-85468D65CE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000" y="2594344"/>
            <a:ext cx="4383259" cy="239232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7582DCB-E955-4FA5-A3A0-71DA59C208EF}"/>
              </a:ext>
            </a:extLst>
          </p:cNvPr>
          <p:cNvSpPr txBox="1"/>
          <p:nvPr/>
        </p:nvSpPr>
        <p:spPr>
          <a:xfrm>
            <a:off x="2390274" y="3262800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Add your details he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E3B9B-2109-4EA8-BFFB-8992AC74FE5B}"/>
              </a:ext>
            </a:extLst>
          </p:cNvPr>
          <p:cNvSpPr txBox="1">
            <a:spLocks/>
          </p:cNvSpPr>
          <p:nvPr/>
        </p:nvSpPr>
        <p:spPr>
          <a:xfrm>
            <a:off x="9839474" y="3232898"/>
            <a:ext cx="1637465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09695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8B7B12-ED28-43D2-A2D9-C67A7BE397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375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84FFF4C-B9C5-400B-BEC4-5AC7263A7B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313" y="1209675"/>
            <a:ext cx="8357302" cy="49359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029205E-12FF-4655-8BA8-E1D4849C3369}"/>
              </a:ext>
            </a:extLst>
          </p:cNvPr>
          <p:cNvSpPr txBox="1"/>
          <p:nvPr/>
        </p:nvSpPr>
        <p:spPr>
          <a:xfrm>
            <a:off x="3136231" y="2468716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Add your details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64A939-77C8-4B4C-B3F2-E1048992D6AA}"/>
              </a:ext>
            </a:extLst>
          </p:cNvPr>
          <p:cNvSpPr txBox="1"/>
          <p:nvPr/>
        </p:nvSpPr>
        <p:spPr>
          <a:xfrm>
            <a:off x="4327358" y="1842880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Link to your projec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D55574-4707-4378-AE93-A807966E3C27}"/>
              </a:ext>
            </a:extLst>
          </p:cNvPr>
          <p:cNvSpPr txBox="1"/>
          <p:nvPr/>
        </p:nvSpPr>
        <p:spPr>
          <a:xfrm>
            <a:off x="4574146" y="3084824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Link to imag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F7FEF7-EB85-4CA8-AC77-368055EE00C6}"/>
              </a:ext>
            </a:extLst>
          </p:cNvPr>
          <p:cNvSpPr txBox="1">
            <a:spLocks/>
          </p:cNvSpPr>
          <p:nvPr/>
        </p:nvSpPr>
        <p:spPr>
          <a:xfrm>
            <a:off x="9924535" y="3232898"/>
            <a:ext cx="1388507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PROJECTS</a:t>
            </a:r>
          </a:p>
        </p:txBody>
      </p:sp>
    </p:spTree>
    <p:extLst>
      <p:ext uri="{BB962C8B-B14F-4D97-AF65-F5344CB8AC3E}">
        <p14:creationId xmlns:p14="http://schemas.microsoft.com/office/powerpoint/2010/main" val="2477344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33C0578-3663-4665-81E1-7146D4BBFA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68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A01B7F5-A85F-4AC2-BFE4-D575350883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8956" y="2222205"/>
            <a:ext cx="4887044" cy="23072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D9F8C70-443A-4AD6-AC18-381578AA6EB1}"/>
              </a:ext>
            </a:extLst>
          </p:cNvPr>
          <p:cNvSpPr txBox="1"/>
          <p:nvPr/>
        </p:nvSpPr>
        <p:spPr>
          <a:xfrm>
            <a:off x="2665601" y="2666817"/>
            <a:ext cx="370572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</a:rPr>
              <a:t>Add your details he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BE9E45-AF44-41D2-A8A3-38B80C7B2F4E}"/>
              </a:ext>
            </a:extLst>
          </p:cNvPr>
          <p:cNvSpPr txBox="1">
            <a:spLocks/>
          </p:cNvSpPr>
          <p:nvPr/>
        </p:nvSpPr>
        <p:spPr>
          <a:xfrm>
            <a:off x="9924535" y="3232898"/>
            <a:ext cx="1388507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FEATURED</a:t>
            </a:r>
          </a:p>
        </p:txBody>
      </p:sp>
    </p:spTree>
    <p:extLst>
      <p:ext uri="{BB962C8B-B14F-4D97-AF65-F5344CB8AC3E}">
        <p14:creationId xmlns:p14="http://schemas.microsoft.com/office/powerpoint/2010/main" val="218234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E28649-7105-41C5-9895-91B0E890E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176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E960F82-B973-49EB-8399-7E52C4603513}"/>
              </a:ext>
            </a:extLst>
          </p:cNvPr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48"/>
          <a:stretch/>
        </p:blipFill>
        <p:spPr bwMode="auto">
          <a:xfrm>
            <a:off x="5283016" y="2068579"/>
            <a:ext cx="6224270" cy="211328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57967D8-53C3-4C20-B613-7CDFC49DC9FD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3016" y="4551211"/>
            <a:ext cx="6224270" cy="113157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69B741B-BAB1-44B4-9DAF-52631B405ABD}"/>
              </a:ext>
            </a:extLst>
          </p:cNvPr>
          <p:cNvSpPr/>
          <p:nvPr/>
        </p:nvSpPr>
        <p:spPr>
          <a:xfrm>
            <a:off x="5010614" y="1158855"/>
            <a:ext cx="6096000" cy="68480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2400"/>
              </a:lnSpc>
              <a:spcBef>
                <a:spcPts val="2400"/>
              </a:spcBef>
            </a:pPr>
            <a:r>
              <a:rPr lang="en-US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To do this, you click on the repo settings button again and return to the </a:t>
            </a:r>
            <a:r>
              <a:rPr lang="en-US" spc="-5" dirty="0" err="1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Github</a:t>
            </a:r>
            <a:r>
              <a:rPr lang="en-US" spc="-5" dirty="0">
                <a:solidFill>
                  <a:srgbClr val="292929"/>
                </a:solidFill>
                <a:latin typeface="Henderson BCG Sans" panose="020B0502030402020204" pitchFamily="34" charset="0"/>
                <a:ea typeface="Times New Roman" panose="02020603050405020304" pitchFamily="18" charset="0"/>
              </a:rPr>
              <a:t> Pages setting box.</a:t>
            </a:r>
            <a:endParaRPr lang="en-US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590B212-9490-4048-9903-048E298F2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488" y="2867548"/>
            <a:ext cx="2478638" cy="1314311"/>
          </a:xfrm>
        </p:spPr>
        <p:txBody>
          <a:bodyPr vert="horz"/>
          <a:lstStyle/>
          <a:p>
            <a:r>
              <a:rPr lang="en-US" dirty="0"/>
              <a:t>Choose a theme</a:t>
            </a:r>
          </a:p>
        </p:txBody>
      </p:sp>
    </p:spTree>
    <p:extLst>
      <p:ext uri="{BB962C8B-B14F-4D97-AF65-F5344CB8AC3E}">
        <p14:creationId xmlns:p14="http://schemas.microsoft.com/office/powerpoint/2010/main" val="83849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1D434E-6D35-41F2-ACC8-D57D5CD383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3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1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D5FCCC4-F94D-4009-AFBB-E9E776DF220E}"/>
              </a:ext>
            </a:extLst>
          </p:cNvPr>
          <p:cNvSpPr/>
          <p:nvPr/>
        </p:nvSpPr>
        <p:spPr>
          <a:xfrm>
            <a:off x="4703974" y="1071464"/>
            <a:ext cx="641768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4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Generate QR code through URL: </a:t>
            </a:r>
            <a:r>
              <a:rPr lang="en-US" sz="14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https://www.the-qrcode-generator.com/</a:t>
            </a:r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 using your portfolio URL.</a:t>
            </a:r>
          </a:p>
          <a:p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This generated QR code can be used on your hard copy of your resume/CV so that it redirects your online portfolio post scanning.</a:t>
            </a:r>
          </a:p>
          <a:p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DE3DD8-C085-4D9B-B53E-147731378C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801"/>
          <a:stretch/>
        </p:blipFill>
        <p:spPr>
          <a:xfrm>
            <a:off x="4703974" y="3003905"/>
            <a:ext cx="6417682" cy="2891718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67C0FA2B-E628-466C-A859-D06395426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reate QR code</a:t>
            </a:r>
          </a:p>
        </p:txBody>
      </p:sp>
    </p:spTree>
    <p:extLst>
      <p:ext uri="{BB962C8B-B14F-4D97-AF65-F5344CB8AC3E}">
        <p14:creationId xmlns:p14="http://schemas.microsoft.com/office/powerpoint/2010/main" val="383535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EB3BB1-9EB3-48DB-A4D1-A139AF06F5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54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0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17626" y="3336104"/>
            <a:ext cx="43884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sz="2400" dirty="0">
                <a:latin typeface="+mj-lt"/>
                <a:cs typeface="+mj-cs"/>
              </a:rPr>
              <a:t>Where to go from here?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4445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35"/>
              </a:spcBef>
            </a:pPr>
            <a:r>
              <a:rPr spc="-5" dirty="0"/>
              <a:t>60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7291189" y="3707220"/>
            <a:ext cx="4207256" cy="452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600">
                <a:sym typeface="Trebuchet MS" panose="020B0603020202020204" pitchFamily="34" charset="0"/>
              </a:defRPr>
            </a:lvl1pPr>
            <a:lvl2pPr marL="284400" indent="-172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sym typeface="Trebuchet MS" panose="020B0603020202020204" pitchFamily="34" charset="0"/>
              </a:defRPr>
            </a:lvl2pPr>
            <a:lvl3pPr marL="511200" indent="-165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sym typeface="Trebuchet MS" panose="020B0603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>
                <a:sym typeface="Trebuchet MS" panose="020B0603020202020204" pitchFamily="34" charset="0"/>
              </a:defRPr>
            </a:lvl5pPr>
            <a:lvl6pPr marL="26987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sym typeface="Trebuchet MS" panose="020B0603020202020204" pitchFamily="34" charset="0"/>
              </a:defRPr>
            </a:lvl6pPr>
            <a:lvl7pPr marL="0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ym typeface="Trebuchet MS" panose="020B0603020202020204" pitchFamily="34" charset="0"/>
              </a:defRPr>
            </a:lvl7pPr>
            <a:lvl8pPr marL="0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111600" lvl="1" indent="0">
              <a:buNone/>
            </a:pPr>
            <a:r>
              <a:rPr lang="en-US" sz="1600" dirty="0">
                <a:hlinkClick r:id="rId6"/>
              </a:rPr>
              <a:t>https://www.geeksforgeeks.org/how-to-build-portfolio-website-and-host-it-on-github-pages/</a:t>
            </a:r>
          </a:p>
          <a:p>
            <a:pPr marL="111600" lvl="1" indent="0">
              <a:buNone/>
            </a:pPr>
            <a:endParaRPr sz="1600" dirty="0">
              <a:hlinkClick r:id="rId6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B717E4-163B-4F5D-8787-95E8625A0713}"/>
              </a:ext>
            </a:extLst>
          </p:cNvPr>
          <p:cNvSpPr txBox="1"/>
          <p:nvPr/>
        </p:nvSpPr>
        <p:spPr>
          <a:xfrm>
            <a:off x="7291189" y="1923134"/>
            <a:ext cx="2123719" cy="45256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Other Resour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F930E8-DBE8-4945-8DD6-88EA65C7BC15}"/>
              </a:ext>
            </a:extLst>
          </p:cNvPr>
          <p:cNvSpPr txBox="1"/>
          <p:nvPr/>
        </p:nvSpPr>
        <p:spPr>
          <a:xfrm>
            <a:off x="7291189" y="2564036"/>
            <a:ext cx="4207256" cy="114318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We have used markdown template to create online portfolio. You can further explore this resource as it uses html templates to create online portfolio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516C8D-B6D7-4CD7-97EF-DCD3A23C9B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63" name="think-cell Slide" r:id="rId12" imgW="353" imgH="363" progId="TCLayout.ActiveDocument.1">
                  <p:embed/>
                </p:oleObj>
              </mc:Choice>
              <mc:Fallback>
                <p:oleObj name="think-cell Slide" r:id="rId12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2516C8D-B6D7-4CD7-97EF-DCD3A23C9B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9654F6-0B26-49F8-BCC4-46520574DB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402C660-43E3-4EDA-839D-4439327E3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Where are we in the learning journey?</a:t>
            </a:r>
            <a:endParaRPr lang="en-US" sz="2800" dirty="0">
              <a:solidFill>
                <a:srgbClr val="171D3C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2" name="ee4pHeader1">
            <a:extLst>
              <a:ext uri="{FF2B5EF4-FFF2-40B4-BE49-F238E27FC236}">
                <a16:creationId xmlns:a16="http://schemas.microsoft.com/office/drawing/2014/main" id="{95734F56-DE88-4EA8-A299-8EA2FA9A5FC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29677" y="3210823"/>
            <a:ext cx="1101031" cy="1643721"/>
          </a:xfrm>
          <a:prstGeom prst="homePlate">
            <a:avLst>
              <a:gd name="adj" fmla="val 12004"/>
            </a:avLst>
          </a:prstGeom>
          <a:solidFill>
            <a:srgbClr val="000000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Orientation</a:t>
            </a:r>
          </a:p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(1 week)</a:t>
            </a:r>
          </a:p>
        </p:txBody>
      </p:sp>
      <p:sp>
        <p:nvSpPr>
          <p:cNvPr id="33" name="ee4pHeader2">
            <a:extLst>
              <a:ext uri="{FF2B5EF4-FFF2-40B4-BE49-F238E27FC236}">
                <a16:creationId xmlns:a16="http://schemas.microsoft.com/office/drawing/2014/main" id="{10978EC2-B25D-413B-9583-1F05047CB99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11417" y="3210823"/>
            <a:ext cx="1345741" cy="1643721"/>
          </a:xfrm>
          <a:prstGeom prst="chevron">
            <a:avLst>
              <a:gd name="adj" fmla="val 12004"/>
            </a:avLst>
          </a:prstGeom>
          <a:solidFill>
            <a:srgbClr val="31DB89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rgbClr val="171D3C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IU 1.0</a:t>
            </a:r>
          </a:p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Business essentials</a:t>
            </a:r>
          </a:p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(3 weeks)</a:t>
            </a:r>
          </a:p>
        </p:txBody>
      </p:sp>
      <p:sp>
        <p:nvSpPr>
          <p:cNvPr id="34" name="ee4pHeader3">
            <a:extLst>
              <a:ext uri="{FF2B5EF4-FFF2-40B4-BE49-F238E27FC236}">
                <a16:creationId xmlns:a16="http://schemas.microsoft.com/office/drawing/2014/main" id="{1AEC8F56-984E-4B11-A258-B1F02B3D9A6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690768" y="3210823"/>
            <a:ext cx="4546132" cy="1643721"/>
          </a:xfrm>
          <a:prstGeom prst="chevron">
            <a:avLst>
              <a:gd name="adj" fmla="val 12004"/>
            </a:avLst>
          </a:prstGeom>
          <a:solidFill>
            <a:srgbClr val="31DB89">
              <a:alpha val="84000"/>
            </a:srgbClr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rgbClr val="171D3C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IU 4.0</a:t>
            </a:r>
          </a:p>
          <a:p>
            <a:pPr algn="ctr" eaLnBrk="0" hangingPunct="0"/>
            <a:r>
              <a:rPr lang="en-US" sz="1400" dirty="0">
                <a:solidFill>
                  <a:srgbClr val="FFFFFF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Digital Core</a:t>
            </a:r>
          </a:p>
          <a:p>
            <a:pPr algn="ctr" eaLnBrk="0" hangingPunct="0"/>
            <a:r>
              <a:rPr lang="en-US" sz="1400" dirty="0">
                <a:solidFill>
                  <a:srgbClr val="FFFFFF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(10 weeks)</a:t>
            </a:r>
          </a:p>
        </p:txBody>
      </p:sp>
      <p:sp>
        <p:nvSpPr>
          <p:cNvPr id="35" name="ee4pHeader2">
            <a:extLst>
              <a:ext uri="{FF2B5EF4-FFF2-40B4-BE49-F238E27FC236}">
                <a16:creationId xmlns:a16="http://schemas.microsoft.com/office/drawing/2014/main" id="{157024EC-C8C4-4645-9CFD-78DE4B472F08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037867" y="3210823"/>
            <a:ext cx="1345741" cy="1643721"/>
          </a:xfrm>
          <a:prstGeom prst="chevron">
            <a:avLst>
              <a:gd name="adj" fmla="val 12004"/>
            </a:avLst>
          </a:prstGeom>
          <a:solidFill>
            <a:srgbClr val="31DB89">
              <a:alpha val="84000"/>
            </a:srgbClr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rgbClr val="171D3C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IU 2.0</a:t>
            </a:r>
          </a:p>
          <a:p>
            <a:pPr algn="ctr" eaLnBrk="0" hangingPunct="0"/>
            <a:r>
              <a:rPr lang="en-US" sz="1400" dirty="0">
                <a:solidFill>
                  <a:srgbClr val="FFFFFF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Digital essentials</a:t>
            </a:r>
          </a:p>
          <a:p>
            <a:pPr algn="ctr" eaLnBrk="0" hangingPunct="0"/>
            <a:r>
              <a:rPr lang="en-US" sz="1400" dirty="0">
                <a:solidFill>
                  <a:srgbClr val="FFFFFF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(3 weeks)</a:t>
            </a:r>
          </a:p>
        </p:txBody>
      </p:sp>
      <p:sp>
        <p:nvSpPr>
          <p:cNvPr id="36" name="ee4pHeader2">
            <a:extLst>
              <a:ext uri="{FF2B5EF4-FFF2-40B4-BE49-F238E27FC236}">
                <a16:creationId xmlns:a16="http://schemas.microsoft.com/office/drawing/2014/main" id="{04A2CFB0-997C-470B-9F99-62ADDE7BA11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364318" y="3210823"/>
            <a:ext cx="1345741" cy="1643721"/>
          </a:xfrm>
          <a:prstGeom prst="chevron">
            <a:avLst>
              <a:gd name="adj" fmla="val 12004"/>
            </a:avLst>
          </a:prstGeom>
          <a:solidFill>
            <a:srgbClr val="171D3C">
              <a:alpha val="84000"/>
            </a:srgbClr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Hackathon</a:t>
            </a:r>
          </a:p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(3 weeks)</a:t>
            </a:r>
          </a:p>
        </p:txBody>
      </p:sp>
      <p:sp>
        <p:nvSpPr>
          <p:cNvPr id="37" name="ee4pHeader2">
            <a:extLst>
              <a:ext uri="{FF2B5EF4-FFF2-40B4-BE49-F238E27FC236}">
                <a16:creationId xmlns:a16="http://schemas.microsoft.com/office/drawing/2014/main" id="{8A3C299B-99A6-4BD4-A0B1-BBC0B8835A09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0217609" y="3210823"/>
            <a:ext cx="1345741" cy="1643721"/>
          </a:xfrm>
          <a:prstGeom prst="chevron">
            <a:avLst>
              <a:gd name="adj" fmla="val 12004"/>
            </a:avLst>
          </a:prstGeom>
          <a:solidFill>
            <a:srgbClr val="171D3C">
              <a:alpha val="84000"/>
            </a:srgbClr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Capstone</a:t>
            </a:r>
          </a:p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+mj-lt"/>
                <a:cs typeface="Henderson BCG Sans" panose="020B0502030402020204" pitchFamily="34" charset="0"/>
                <a:sym typeface="Henderson BCG Sans" panose="020B0502030402020204" pitchFamily="34" charset="0"/>
              </a:rPr>
              <a:t>(3 weeks)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44E1F75-7EBD-4019-9A75-7676D444E0A0}"/>
              </a:ext>
            </a:extLst>
          </p:cNvPr>
          <p:cNvCxnSpPr/>
          <p:nvPr/>
        </p:nvCxnSpPr>
        <p:spPr>
          <a:xfrm>
            <a:off x="5709279" y="4943639"/>
            <a:ext cx="1128907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A8155DFA-A5FE-47BA-8F50-273F867B0025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19860" y="4802342"/>
            <a:ext cx="469743" cy="761996"/>
          </a:xfrm>
          <a:prstGeom prst="bentConnector2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46DD4F5E-E260-4BE1-B0B4-252B36ED96DD}"/>
              </a:ext>
            </a:extLst>
          </p:cNvPr>
          <p:cNvSpPr/>
          <p:nvPr/>
        </p:nvSpPr>
        <p:spPr>
          <a:xfrm>
            <a:off x="2186743" y="4993055"/>
            <a:ext cx="178255" cy="96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E6DCD4-036F-4F40-911B-3ECFBC084DCF}"/>
              </a:ext>
            </a:extLst>
          </p:cNvPr>
          <p:cNvSpPr/>
          <p:nvPr/>
        </p:nvSpPr>
        <p:spPr>
          <a:xfrm flipH="1">
            <a:off x="0" y="405219"/>
            <a:ext cx="182880" cy="822960"/>
          </a:xfrm>
          <a:prstGeom prst="rect">
            <a:avLst/>
          </a:prstGeom>
          <a:solidFill>
            <a:srgbClr val="31DB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22" name="Arrow: Pentagon 21">
            <a:extLst>
              <a:ext uri="{FF2B5EF4-FFF2-40B4-BE49-F238E27FC236}">
                <a16:creationId xmlns:a16="http://schemas.microsoft.com/office/drawing/2014/main" id="{C3B27506-749F-4976-8D2A-55CE5F277C2A}"/>
              </a:ext>
            </a:extLst>
          </p:cNvPr>
          <p:cNvSpPr/>
          <p:nvPr/>
        </p:nvSpPr>
        <p:spPr>
          <a:xfrm>
            <a:off x="629677" y="2093265"/>
            <a:ext cx="10818658" cy="307910"/>
          </a:xfrm>
          <a:prstGeom prst="homePlate">
            <a:avLst>
              <a:gd name="adj" fmla="val 78872"/>
            </a:avLst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Career Development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6962C1A8-C59A-4A7D-A408-CAA4D45E9E88}"/>
              </a:ext>
            </a:extLst>
          </p:cNvPr>
          <p:cNvSpPr/>
          <p:nvPr/>
        </p:nvSpPr>
        <p:spPr>
          <a:xfrm>
            <a:off x="629677" y="2512312"/>
            <a:ext cx="10818658" cy="307910"/>
          </a:xfrm>
          <a:prstGeom prst="homePlate">
            <a:avLst>
              <a:gd name="adj" fmla="val 74747"/>
            </a:avLst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Leadership Development</a:t>
            </a: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E3BD7B4B-4517-415D-A296-F9A55BEC030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35730" y="5002714"/>
            <a:ext cx="2714663" cy="1200329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91440" tIns="45720" rIns="45720" bIns="45720">
            <a:spAutoFit/>
          </a:bodyPr>
          <a:lstStyle/>
          <a:p>
            <a:pPr>
              <a:buClr>
                <a:schemeClr val="tx2"/>
              </a:buClr>
            </a:pPr>
            <a:r>
              <a:rPr lang="en-US" altLang="ko-KR" sz="1200" dirty="0">
                <a:solidFill>
                  <a:srgbClr val="37373A"/>
                </a:solidFill>
                <a:latin typeface="+mj-lt"/>
                <a:ea typeface="Gulim" pitchFamily="34" charset="-127"/>
                <a:cs typeface="Henderson BCG Sans" panose="020B0502030402020204" pitchFamily="34" charset="0"/>
                <a:sym typeface="Henderson BCG Sans" panose="020B0502030402020204" pitchFamily="34" charset="0"/>
              </a:rPr>
              <a:t>IU 4.1 – Ramp up</a:t>
            </a:r>
          </a:p>
          <a:p>
            <a:pPr>
              <a:buClr>
                <a:schemeClr val="tx2"/>
              </a:buClr>
            </a:pPr>
            <a:r>
              <a:rPr lang="en-SG" altLang="ko-KR" sz="1200" dirty="0">
                <a:solidFill>
                  <a:schemeClr val="accent1"/>
                </a:solidFill>
                <a:ea typeface="Gulim" pitchFamily="34" charset="-127"/>
                <a:cs typeface="Henderson BCG Sans" panose="020B0502030402020204" pitchFamily="34" charset="0"/>
                <a:sym typeface="Henderson BCG Sans" panose="020B0502030402020204" pitchFamily="34" charset="0"/>
              </a:rPr>
              <a:t>IU 4.2 – Business analysis for data</a:t>
            </a:r>
          </a:p>
          <a:p>
            <a:pPr>
              <a:buClr>
                <a:schemeClr val="tx2"/>
              </a:buClr>
            </a:pPr>
            <a:r>
              <a:rPr lang="en-SG" altLang="ko-KR" sz="1200" b="1" dirty="0">
                <a:solidFill>
                  <a:schemeClr val="folHlink"/>
                </a:solidFill>
                <a:latin typeface="+mj-lt"/>
                <a:ea typeface="Gulim" pitchFamily="34" charset="-127"/>
                <a:cs typeface="Henderson BCG Sans" panose="020B0502030402020204" pitchFamily="34" charset="0"/>
                <a:sym typeface="Henderson BCG Sans" panose="020B0502030402020204" pitchFamily="34" charset="0"/>
              </a:rPr>
              <a:t>IU 4.3 – Databases and querying</a:t>
            </a:r>
          </a:p>
          <a:p>
            <a:pPr>
              <a:buClr>
                <a:schemeClr val="tx2"/>
              </a:buClr>
            </a:pPr>
            <a:r>
              <a:rPr lang="en-SG" altLang="ko-KR" sz="1200" dirty="0">
                <a:solidFill>
                  <a:schemeClr val="accent1"/>
                </a:solidFill>
                <a:ea typeface="Gulim" pitchFamily="34" charset="-127"/>
                <a:cs typeface="Henderson BCG Sans" panose="020B0502030402020204" pitchFamily="34" charset="0"/>
                <a:sym typeface="Henderson BCG Sans" panose="020B0502030402020204" pitchFamily="34" charset="0"/>
              </a:rPr>
              <a:t>IU 4.4 – Visualization and dashboards</a:t>
            </a:r>
          </a:p>
          <a:p>
            <a:pPr>
              <a:buClr>
                <a:schemeClr val="tx2"/>
              </a:buClr>
            </a:pPr>
            <a:r>
              <a:rPr lang="en-SG" altLang="ko-KR" sz="1200" dirty="0">
                <a:solidFill>
                  <a:schemeClr val="accent1"/>
                </a:solidFill>
                <a:ea typeface="Gulim" pitchFamily="34" charset="-127"/>
                <a:cs typeface="Henderson BCG Sans" panose="020B0502030402020204" pitchFamily="34" charset="0"/>
                <a:sym typeface="Henderson BCG Sans" panose="020B0502030402020204" pitchFamily="34" charset="0"/>
              </a:rPr>
              <a:t>IU 4.5 - Statistical Analysis</a:t>
            </a:r>
          </a:p>
          <a:p>
            <a:pPr>
              <a:buClr>
                <a:schemeClr val="tx2"/>
              </a:buClr>
            </a:pPr>
            <a:r>
              <a:rPr lang="en-SG" altLang="ko-KR" sz="1200" dirty="0">
                <a:solidFill>
                  <a:schemeClr val="accent1"/>
                </a:solidFill>
                <a:ea typeface="Gulim" pitchFamily="34" charset="-127"/>
                <a:cs typeface="Henderson BCG Sans" panose="020B0502030402020204" pitchFamily="34" charset="0"/>
                <a:sym typeface="Henderson BCG Sans" panose="020B0502030402020204" pitchFamily="34" charset="0"/>
              </a:rPr>
              <a:t>IU 4.6 – Machine Learning</a:t>
            </a:r>
          </a:p>
        </p:txBody>
      </p:sp>
    </p:spTree>
    <p:extLst>
      <p:ext uri="{BB962C8B-B14F-4D97-AF65-F5344CB8AC3E}">
        <p14:creationId xmlns:p14="http://schemas.microsoft.com/office/powerpoint/2010/main" val="421215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BEB31E-3063-4DDA-A1B3-CB80D1E521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7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1BEB31E-3063-4DDA-A1B3-CB80D1E52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BF39A9C-D0D7-41FA-9BB0-6AD2F465C6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FDD172-A39A-4AFD-8148-1A07DE20B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23D665-7F2A-417D-A878-1C67868530CB}"/>
              </a:ext>
            </a:extLst>
          </p:cNvPr>
          <p:cNvSpPr/>
          <p:nvPr/>
        </p:nvSpPr>
        <p:spPr>
          <a:xfrm>
            <a:off x="4896157" y="1470118"/>
            <a:ext cx="6665843" cy="3902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Learning how to create an impressive online portfolio to showcase your work</a:t>
            </a:r>
          </a:p>
          <a:p>
            <a:pPr>
              <a:lnSpc>
                <a:spcPct val="150000"/>
              </a:lnSpc>
            </a:pPr>
            <a:endParaRPr lang="en-US" sz="2400" dirty="0"/>
          </a:p>
          <a:p>
            <a:pPr marL="648000" lvl="2" indent="-216000">
              <a:lnSpc>
                <a:spcPct val="150000"/>
              </a:lnSpc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n-US" sz="2400" dirty="0"/>
              <a:t>Free personal website hosting</a:t>
            </a:r>
          </a:p>
          <a:p>
            <a:pPr marL="648000" lvl="2" indent="-216000">
              <a:lnSpc>
                <a:spcPct val="150000"/>
              </a:lnSpc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n-US" sz="2400" dirty="0"/>
              <a:t>QR code for digital sharing</a:t>
            </a:r>
          </a:p>
          <a:p>
            <a:pPr marL="648000" lvl="2" indent="-216000">
              <a:lnSpc>
                <a:spcPct val="150000"/>
              </a:lnSpc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n-US" sz="2400" dirty="0"/>
              <a:t>Linked to </a:t>
            </a:r>
            <a:r>
              <a:rPr lang="en-US" sz="2400" dirty="0" err="1"/>
              <a:t>Github</a:t>
            </a:r>
            <a:r>
              <a:rPr lang="en-US" sz="2400" dirty="0"/>
              <a:t> repository for detailed showcase</a:t>
            </a:r>
          </a:p>
        </p:txBody>
      </p:sp>
    </p:spTree>
    <p:extLst>
      <p:ext uri="{BB962C8B-B14F-4D97-AF65-F5344CB8AC3E}">
        <p14:creationId xmlns:p14="http://schemas.microsoft.com/office/powerpoint/2010/main" val="255700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772F67-AC62-4EF2-A01B-A3FCC039D0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1517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772F67-AC62-4EF2-A01B-A3FCC039D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980503-5168-4602-B893-F39CAF9CE0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189FE2-A07F-49C2-8BED-C3DDC12EA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nline portfolio</a:t>
            </a:r>
          </a:p>
        </p:txBody>
      </p:sp>
    </p:spTree>
    <p:extLst>
      <p:ext uri="{BB962C8B-B14F-4D97-AF65-F5344CB8AC3E}">
        <p14:creationId xmlns:p14="http://schemas.microsoft.com/office/powerpoint/2010/main" val="209497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506D51-054C-4234-967D-B57D91D722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57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0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506D51-054C-4234-967D-B57D91D72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488CF0B-51F5-4E16-BA45-7955609C53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279B67-3F75-4D3A-A466-12D33B0C2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85" y="1523263"/>
            <a:ext cx="3127881" cy="1495794"/>
          </a:xfrm>
        </p:spPr>
        <p:txBody>
          <a:bodyPr vert="horz"/>
          <a:lstStyle/>
          <a:p>
            <a:r>
              <a:rPr lang="en-US" dirty="0"/>
              <a:t>Online portfolio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uide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411BB-6FA7-4387-BD95-DCB620A6029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6000" y="1290670"/>
            <a:ext cx="5634456" cy="5338786"/>
          </a:xfrm>
        </p:spPr>
        <p:txBody>
          <a:bodyPr/>
          <a:lstStyle/>
          <a:p>
            <a:r>
              <a:rPr lang="en-US" sz="1600" dirty="0"/>
              <a:t>By looking at your </a:t>
            </a:r>
            <a:r>
              <a:rPr lang="en-US" sz="1600" dirty="0" err="1"/>
              <a:t>github</a:t>
            </a:r>
            <a:r>
              <a:rPr lang="en-US" sz="1600" dirty="0"/>
              <a:t> profile, Interviewers judge the following:</a:t>
            </a:r>
          </a:p>
          <a:p>
            <a:pPr lvl="1"/>
            <a:r>
              <a:rPr lang="en-US" sz="1600" dirty="0"/>
              <a:t>the experience of the candidate(s) </a:t>
            </a:r>
          </a:p>
          <a:p>
            <a:pPr lvl="1"/>
            <a:r>
              <a:rPr lang="en-US" sz="1600" dirty="0"/>
              <a:t>the quality of the work presented using </a:t>
            </a:r>
            <a:r>
              <a:rPr lang="en-US" sz="1600" dirty="0" err="1"/>
              <a:t>github</a:t>
            </a:r>
            <a:r>
              <a:rPr lang="en-US" sz="1600" dirty="0"/>
              <a:t>.</a:t>
            </a:r>
          </a:p>
          <a:p>
            <a:pPr lvl="1"/>
            <a:endParaRPr lang="en-US" sz="1600" b="1" dirty="0"/>
          </a:p>
          <a:p>
            <a:r>
              <a:rPr lang="en-US" sz="1600" b="1" dirty="0"/>
              <a:t>Guidelines:</a:t>
            </a:r>
          </a:p>
          <a:p>
            <a:pPr lvl="1"/>
            <a:r>
              <a:rPr lang="en-US" sz="1600" dirty="0"/>
              <a:t>Put a link to your GitHub in your resume and every application forms you must fill.</a:t>
            </a:r>
          </a:p>
          <a:p>
            <a:pPr lvl="1"/>
            <a:r>
              <a:rPr lang="en-US" sz="1600" dirty="0"/>
              <a:t>The best of your work will be the “landing page”, the first page the employer will see.</a:t>
            </a:r>
          </a:p>
          <a:p>
            <a:pPr lvl="1"/>
            <a:r>
              <a:rPr lang="en-US" sz="1600" dirty="0"/>
              <a:t>Structure/organize your project well with clear titles/name of folders and files,</a:t>
            </a:r>
          </a:p>
          <a:p>
            <a:pPr lvl="1"/>
            <a:r>
              <a:rPr lang="en-US" sz="1600" dirty="0"/>
              <a:t>Classified contents are well appreciated</a:t>
            </a:r>
          </a:p>
          <a:p>
            <a:pPr lvl="1"/>
            <a:r>
              <a:rPr lang="en-US" sz="1600" dirty="0"/>
              <a:t>Have a README file (Coming up next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7F27FC7-2121-4DDF-91D7-9297560170A6}"/>
              </a:ext>
            </a:extLst>
          </p:cNvPr>
          <p:cNvGrpSpPr>
            <a:grpSpLocks noChangeAspect="1"/>
          </p:cNvGrpSpPr>
          <p:nvPr/>
        </p:nvGrpSpPr>
        <p:grpSpPr>
          <a:xfrm>
            <a:off x="530225" y="2771408"/>
            <a:ext cx="1646238" cy="1644650"/>
            <a:chOff x="5273675" y="2606675"/>
            <a:chExt cx="1646238" cy="164465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7B6E8122-C063-41F2-B867-4266FCA138B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C6A2F252-67AB-4122-AFBC-B3BAAE700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413" y="2854324"/>
              <a:ext cx="1274763" cy="1149350"/>
            </a:xfrm>
            <a:custGeom>
              <a:avLst/>
              <a:gdLst>
                <a:gd name="connsiteX0" fmla="*/ 169714 w 1274763"/>
                <a:gd name="connsiteY0" fmla="*/ 522288 h 1149350"/>
                <a:gd name="connsiteX1" fmla="*/ 153987 w 1274763"/>
                <a:gd name="connsiteY1" fmla="*/ 538163 h 1149350"/>
                <a:gd name="connsiteX2" fmla="*/ 169714 w 1274763"/>
                <a:gd name="connsiteY2" fmla="*/ 554038 h 1149350"/>
                <a:gd name="connsiteX3" fmla="*/ 368448 w 1274763"/>
                <a:gd name="connsiteY3" fmla="*/ 554038 h 1149350"/>
                <a:gd name="connsiteX4" fmla="*/ 384175 w 1274763"/>
                <a:gd name="connsiteY4" fmla="*/ 538163 h 1149350"/>
                <a:gd name="connsiteX5" fmla="*/ 368448 w 1274763"/>
                <a:gd name="connsiteY5" fmla="*/ 522288 h 1149350"/>
                <a:gd name="connsiteX6" fmla="*/ 169714 w 1274763"/>
                <a:gd name="connsiteY6" fmla="*/ 522288 h 1149350"/>
                <a:gd name="connsiteX7" fmla="*/ 169697 w 1274763"/>
                <a:gd name="connsiteY7" fmla="*/ 398463 h 1149350"/>
                <a:gd name="connsiteX8" fmla="*/ 153987 w 1274763"/>
                <a:gd name="connsiteY8" fmla="*/ 414338 h 1149350"/>
                <a:gd name="connsiteX9" fmla="*/ 169697 w 1274763"/>
                <a:gd name="connsiteY9" fmla="*/ 430213 h 1149350"/>
                <a:gd name="connsiteX10" fmla="*/ 536740 w 1274763"/>
                <a:gd name="connsiteY10" fmla="*/ 430213 h 1149350"/>
                <a:gd name="connsiteX11" fmla="*/ 552450 w 1274763"/>
                <a:gd name="connsiteY11" fmla="*/ 414338 h 1149350"/>
                <a:gd name="connsiteX12" fmla="*/ 536740 w 1274763"/>
                <a:gd name="connsiteY12" fmla="*/ 398463 h 1149350"/>
                <a:gd name="connsiteX13" fmla="*/ 169697 w 1274763"/>
                <a:gd name="connsiteY13" fmla="*/ 398463 h 1149350"/>
                <a:gd name="connsiteX14" fmla="*/ 69060 w 1274763"/>
                <a:gd name="connsiteY14" fmla="*/ 288925 h 1149350"/>
                <a:gd name="connsiteX15" fmla="*/ 1204114 w 1274763"/>
                <a:gd name="connsiteY15" fmla="*/ 288925 h 1149350"/>
                <a:gd name="connsiteX16" fmla="*/ 1211262 w 1274763"/>
                <a:gd name="connsiteY16" fmla="*/ 296067 h 1149350"/>
                <a:gd name="connsiteX17" fmla="*/ 1211262 w 1274763"/>
                <a:gd name="connsiteY17" fmla="*/ 1080296 h 1149350"/>
                <a:gd name="connsiteX18" fmla="*/ 1204114 w 1274763"/>
                <a:gd name="connsiteY18" fmla="*/ 1087438 h 1149350"/>
                <a:gd name="connsiteX19" fmla="*/ 69060 w 1274763"/>
                <a:gd name="connsiteY19" fmla="*/ 1087438 h 1149350"/>
                <a:gd name="connsiteX20" fmla="*/ 61912 w 1274763"/>
                <a:gd name="connsiteY20" fmla="*/ 1080296 h 1149350"/>
                <a:gd name="connsiteX21" fmla="*/ 61912 w 1274763"/>
                <a:gd name="connsiteY21" fmla="*/ 296067 h 1149350"/>
                <a:gd name="connsiteX22" fmla="*/ 69060 w 1274763"/>
                <a:gd name="connsiteY22" fmla="*/ 288925 h 1149350"/>
                <a:gd name="connsiteX23" fmla="*/ 30162 w 1274763"/>
                <a:gd name="connsiteY23" fmla="*/ 257175 h 1149350"/>
                <a:gd name="connsiteX24" fmla="*/ 30162 w 1274763"/>
                <a:gd name="connsiteY24" fmla="*/ 1117600 h 1149350"/>
                <a:gd name="connsiteX25" fmla="*/ 1243012 w 1274763"/>
                <a:gd name="connsiteY25" fmla="*/ 1117600 h 1149350"/>
                <a:gd name="connsiteX26" fmla="*/ 1243012 w 1274763"/>
                <a:gd name="connsiteY26" fmla="*/ 257175 h 1149350"/>
                <a:gd name="connsiteX27" fmla="*/ 1215837 w 1274763"/>
                <a:gd name="connsiteY27" fmla="*/ 257175 h 1149350"/>
                <a:gd name="connsiteX28" fmla="*/ 60913 w 1274763"/>
                <a:gd name="connsiteY28" fmla="*/ 257175 h 1149350"/>
                <a:gd name="connsiteX29" fmla="*/ 30162 w 1274763"/>
                <a:gd name="connsiteY29" fmla="*/ 257175 h 1149350"/>
                <a:gd name="connsiteX30" fmla="*/ 77787 w 1274763"/>
                <a:gd name="connsiteY30" fmla="*/ 31750 h 1149350"/>
                <a:gd name="connsiteX31" fmla="*/ 77787 w 1274763"/>
                <a:gd name="connsiteY31" fmla="*/ 225425 h 1149350"/>
                <a:gd name="connsiteX32" fmla="*/ 1200150 w 1274763"/>
                <a:gd name="connsiteY32" fmla="*/ 225425 h 1149350"/>
                <a:gd name="connsiteX33" fmla="*/ 1200150 w 1274763"/>
                <a:gd name="connsiteY33" fmla="*/ 136420 h 1149350"/>
                <a:gd name="connsiteX34" fmla="*/ 552880 w 1274763"/>
                <a:gd name="connsiteY34" fmla="*/ 135708 h 1149350"/>
                <a:gd name="connsiteX35" fmla="*/ 541450 w 1274763"/>
                <a:gd name="connsiteY35" fmla="*/ 130724 h 1149350"/>
                <a:gd name="connsiteX36" fmla="*/ 445717 w 1274763"/>
                <a:gd name="connsiteY36" fmla="*/ 31750 h 1149350"/>
                <a:gd name="connsiteX37" fmla="*/ 77787 w 1274763"/>
                <a:gd name="connsiteY37" fmla="*/ 31750 h 1149350"/>
                <a:gd name="connsiteX38" fmla="*/ 62166 w 1274763"/>
                <a:gd name="connsiteY38" fmla="*/ 0 h 1149350"/>
                <a:gd name="connsiteX39" fmla="*/ 453027 w 1274763"/>
                <a:gd name="connsiteY39" fmla="*/ 0 h 1149350"/>
                <a:gd name="connsiteX40" fmla="*/ 463745 w 1274763"/>
                <a:gd name="connsiteY40" fmla="*/ 4283 h 1149350"/>
                <a:gd name="connsiteX41" fmla="*/ 560210 w 1274763"/>
                <a:gd name="connsiteY41" fmla="*/ 104227 h 1149350"/>
                <a:gd name="connsiteX42" fmla="*/ 1216170 w 1274763"/>
                <a:gd name="connsiteY42" fmla="*/ 104941 h 1149350"/>
                <a:gd name="connsiteX43" fmla="*/ 1231890 w 1274763"/>
                <a:gd name="connsiteY43" fmla="*/ 120646 h 1149350"/>
                <a:gd name="connsiteX44" fmla="*/ 1231890 w 1274763"/>
                <a:gd name="connsiteY44" fmla="*/ 225587 h 1149350"/>
                <a:gd name="connsiteX45" fmla="*/ 1259043 w 1274763"/>
                <a:gd name="connsiteY45" fmla="*/ 225587 h 1149350"/>
                <a:gd name="connsiteX46" fmla="*/ 1274763 w 1274763"/>
                <a:gd name="connsiteY46" fmla="*/ 241292 h 1149350"/>
                <a:gd name="connsiteX47" fmla="*/ 1274763 w 1274763"/>
                <a:gd name="connsiteY47" fmla="*/ 1133645 h 1149350"/>
                <a:gd name="connsiteX48" fmla="*/ 1259043 w 1274763"/>
                <a:gd name="connsiteY48" fmla="*/ 1149350 h 1149350"/>
                <a:gd name="connsiteX49" fmla="*/ 15720 w 1274763"/>
                <a:gd name="connsiteY49" fmla="*/ 1149350 h 1149350"/>
                <a:gd name="connsiteX50" fmla="*/ 0 w 1274763"/>
                <a:gd name="connsiteY50" fmla="*/ 1133645 h 1149350"/>
                <a:gd name="connsiteX51" fmla="*/ 0 w 1274763"/>
                <a:gd name="connsiteY51" fmla="*/ 241292 h 1149350"/>
                <a:gd name="connsiteX52" fmla="*/ 15720 w 1274763"/>
                <a:gd name="connsiteY52" fmla="*/ 225587 h 1149350"/>
                <a:gd name="connsiteX53" fmla="*/ 46446 w 1274763"/>
                <a:gd name="connsiteY53" fmla="*/ 225587 h 1149350"/>
                <a:gd name="connsiteX54" fmla="*/ 46446 w 1274763"/>
                <a:gd name="connsiteY54" fmla="*/ 15706 h 1149350"/>
                <a:gd name="connsiteX55" fmla="*/ 62166 w 1274763"/>
                <a:gd name="connsiteY55" fmla="*/ 0 h 1149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274763" h="1149350">
                  <a:moveTo>
                    <a:pt x="169714" y="522288"/>
                  </a:moveTo>
                  <a:cubicBezTo>
                    <a:pt x="161136" y="522288"/>
                    <a:pt x="153987" y="529504"/>
                    <a:pt x="153987" y="538163"/>
                  </a:cubicBezTo>
                  <a:cubicBezTo>
                    <a:pt x="153987" y="546822"/>
                    <a:pt x="161136" y="554038"/>
                    <a:pt x="169714" y="554038"/>
                  </a:cubicBezTo>
                  <a:cubicBezTo>
                    <a:pt x="169714" y="554038"/>
                    <a:pt x="169714" y="554038"/>
                    <a:pt x="368448" y="554038"/>
                  </a:cubicBezTo>
                  <a:cubicBezTo>
                    <a:pt x="377027" y="554038"/>
                    <a:pt x="384175" y="546822"/>
                    <a:pt x="384175" y="538163"/>
                  </a:cubicBezTo>
                  <a:cubicBezTo>
                    <a:pt x="384175" y="529504"/>
                    <a:pt x="377027" y="522288"/>
                    <a:pt x="368448" y="522288"/>
                  </a:cubicBezTo>
                  <a:cubicBezTo>
                    <a:pt x="368448" y="522288"/>
                    <a:pt x="368448" y="522288"/>
                    <a:pt x="169714" y="522288"/>
                  </a:cubicBezTo>
                  <a:close/>
                  <a:moveTo>
                    <a:pt x="169697" y="398463"/>
                  </a:moveTo>
                  <a:cubicBezTo>
                    <a:pt x="161128" y="398463"/>
                    <a:pt x="153987" y="405679"/>
                    <a:pt x="153987" y="414338"/>
                  </a:cubicBezTo>
                  <a:cubicBezTo>
                    <a:pt x="153987" y="422997"/>
                    <a:pt x="161128" y="430213"/>
                    <a:pt x="169697" y="430213"/>
                  </a:cubicBezTo>
                  <a:cubicBezTo>
                    <a:pt x="169697" y="430213"/>
                    <a:pt x="169697" y="430213"/>
                    <a:pt x="536740" y="430213"/>
                  </a:cubicBezTo>
                  <a:cubicBezTo>
                    <a:pt x="545309" y="430213"/>
                    <a:pt x="552450" y="422997"/>
                    <a:pt x="552450" y="414338"/>
                  </a:cubicBezTo>
                  <a:cubicBezTo>
                    <a:pt x="552450" y="405679"/>
                    <a:pt x="545309" y="398463"/>
                    <a:pt x="536740" y="398463"/>
                  </a:cubicBezTo>
                  <a:cubicBezTo>
                    <a:pt x="536740" y="398463"/>
                    <a:pt x="536740" y="398463"/>
                    <a:pt x="169697" y="398463"/>
                  </a:cubicBezTo>
                  <a:close/>
                  <a:moveTo>
                    <a:pt x="69060" y="288925"/>
                  </a:moveTo>
                  <a:cubicBezTo>
                    <a:pt x="69060" y="288925"/>
                    <a:pt x="69060" y="288925"/>
                    <a:pt x="1204114" y="288925"/>
                  </a:cubicBezTo>
                  <a:cubicBezTo>
                    <a:pt x="1208403" y="288925"/>
                    <a:pt x="1211262" y="292496"/>
                    <a:pt x="1211262" y="296067"/>
                  </a:cubicBezTo>
                  <a:cubicBezTo>
                    <a:pt x="1211262" y="296067"/>
                    <a:pt x="1211262" y="296067"/>
                    <a:pt x="1211262" y="1080296"/>
                  </a:cubicBezTo>
                  <a:cubicBezTo>
                    <a:pt x="1211262" y="1084581"/>
                    <a:pt x="1208403" y="1087438"/>
                    <a:pt x="1204114" y="1087438"/>
                  </a:cubicBezTo>
                  <a:cubicBezTo>
                    <a:pt x="1204114" y="1087438"/>
                    <a:pt x="1204114" y="1087438"/>
                    <a:pt x="69060" y="1087438"/>
                  </a:cubicBezTo>
                  <a:cubicBezTo>
                    <a:pt x="64771" y="1087438"/>
                    <a:pt x="61912" y="1084581"/>
                    <a:pt x="61912" y="1080296"/>
                  </a:cubicBezTo>
                  <a:cubicBezTo>
                    <a:pt x="61912" y="1080296"/>
                    <a:pt x="61912" y="1080296"/>
                    <a:pt x="61912" y="296067"/>
                  </a:cubicBezTo>
                  <a:cubicBezTo>
                    <a:pt x="61912" y="292496"/>
                    <a:pt x="64771" y="288925"/>
                    <a:pt x="69060" y="288925"/>
                  </a:cubicBezTo>
                  <a:close/>
                  <a:moveTo>
                    <a:pt x="30162" y="257175"/>
                  </a:moveTo>
                  <a:cubicBezTo>
                    <a:pt x="30162" y="257175"/>
                    <a:pt x="30162" y="257175"/>
                    <a:pt x="30162" y="1117600"/>
                  </a:cubicBezTo>
                  <a:cubicBezTo>
                    <a:pt x="30162" y="1117600"/>
                    <a:pt x="30162" y="1117600"/>
                    <a:pt x="1243012" y="1117600"/>
                  </a:cubicBezTo>
                  <a:cubicBezTo>
                    <a:pt x="1243012" y="1117600"/>
                    <a:pt x="1243012" y="1117600"/>
                    <a:pt x="1243012" y="257175"/>
                  </a:cubicBezTo>
                  <a:cubicBezTo>
                    <a:pt x="1243012" y="257175"/>
                    <a:pt x="1243012" y="257175"/>
                    <a:pt x="1215837" y="257175"/>
                  </a:cubicBezTo>
                  <a:cubicBezTo>
                    <a:pt x="1215837" y="257175"/>
                    <a:pt x="1215837" y="257175"/>
                    <a:pt x="60913" y="257175"/>
                  </a:cubicBezTo>
                  <a:cubicBezTo>
                    <a:pt x="60913" y="257175"/>
                    <a:pt x="60913" y="257175"/>
                    <a:pt x="30162" y="257175"/>
                  </a:cubicBezTo>
                  <a:close/>
                  <a:moveTo>
                    <a:pt x="77787" y="31750"/>
                  </a:moveTo>
                  <a:cubicBezTo>
                    <a:pt x="77787" y="31750"/>
                    <a:pt x="77787" y="31750"/>
                    <a:pt x="77787" y="225425"/>
                  </a:cubicBezTo>
                  <a:cubicBezTo>
                    <a:pt x="77787" y="225425"/>
                    <a:pt x="77787" y="225425"/>
                    <a:pt x="1200150" y="225425"/>
                  </a:cubicBezTo>
                  <a:cubicBezTo>
                    <a:pt x="1200150" y="225425"/>
                    <a:pt x="1200150" y="225425"/>
                    <a:pt x="1200150" y="136420"/>
                  </a:cubicBezTo>
                  <a:cubicBezTo>
                    <a:pt x="1200150" y="136420"/>
                    <a:pt x="1200150" y="136420"/>
                    <a:pt x="552880" y="135708"/>
                  </a:cubicBezTo>
                  <a:cubicBezTo>
                    <a:pt x="548594" y="135708"/>
                    <a:pt x="544307" y="133572"/>
                    <a:pt x="541450" y="130724"/>
                  </a:cubicBezTo>
                  <a:cubicBezTo>
                    <a:pt x="541450" y="130724"/>
                    <a:pt x="541450" y="130724"/>
                    <a:pt x="445717" y="31750"/>
                  </a:cubicBezTo>
                  <a:cubicBezTo>
                    <a:pt x="445717" y="31750"/>
                    <a:pt x="445717" y="31750"/>
                    <a:pt x="77787" y="31750"/>
                  </a:cubicBezTo>
                  <a:close/>
                  <a:moveTo>
                    <a:pt x="62166" y="0"/>
                  </a:moveTo>
                  <a:cubicBezTo>
                    <a:pt x="62166" y="0"/>
                    <a:pt x="62166" y="0"/>
                    <a:pt x="453027" y="0"/>
                  </a:cubicBezTo>
                  <a:cubicBezTo>
                    <a:pt x="457314" y="0"/>
                    <a:pt x="460887" y="1428"/>
                    <a:pt x="463745" y="4283"/>
                  </a:cubicBezTo>
                  <a:cubicBezTo>
                    <a:pt x="463745" y="4283"/>
                    <a:pt x="463745" y="4283"/>
                    <a:pt x="560210" y="104227"/>
                  </a:cubicBezTo>
                  <a:cubicBezTo>
                    <a:pt x="560210" y="104227"/>
                    <a:pt x="560210" y="104227"/>
                    <a:pt x="1216170" y="104941"/>
                  </a:cubicBezTo>
                  <a:cubicBezTo>
                    <a:pt x="1224744" y="104941"/>
                    <a:pt x="1231890" y="112080"/>
                    <a:pt x="1231890" y="120646"/>
                  </a:cubicBezTo>
                  <a:cubicBezTo>
                    <a:pt x="1231890" y="120646"/>
                    <a:pt x="1231890" y="120646"/>
                    <a:pt x="1231890" y="225587"/>
                  </a:cubicBezTo>
                  <a:cubicBezTo>
                    <a:pt x="1231890" y="225587"/>
                    <a:pt x="1231890" y="225587"/>
                    <a:pt x="1259043" y="225587"/>
                  </a:cubicBezTo>
                  <a:cubicBezTo>
                    <a:pt x="1267618" y="225587"/>
                    <a:pt x="1274763" y="232726"/>
                    <a:pt x="1274763" y="241292"/>
                  </a:cubicBezTo>
                  <a:cubicBezTo>
                    <a:pt x="1274763" y="241292"/>
                    <a:pt x="1274763" y="241292"/>
                    <a:pt x="1274763" y="1133645"/>
                  </a:cubicBezTo>
                  <a:cubicBezTo>
                    <a:pt x="1274763" y="1142925"/>
                    <a:pt x="1267618" y="1149350"/>
                    <a:pt x="1259043" y="1149350"/>
                  </a:cubicBezTo>
                  <a:cubicBezTo>
                    <a:pt x="1259043" y="1149350"/>
                    <a:pt x="1259043" y="1149350"/>
                    <a:pt x="15720" y="1149350"/>
                  </a:cubicBezTo>
                  <a:cubicBezTo>
                    <a:pt x="7146" y="1149350"/>
                    <a:pt x="0" y="1142925"/>
                    <a:pt x="0" y="1133645"/>
                  </a:cubicBezTo>
                  <a:cubicBezTo>
                    <a:pt x="0" y="1133645"/>
                    <a:pt x="0" y="1133645"/>
                    <a:pt x="0" y="241292"/>
                  </a:cubicBezTo>
                  <a:cubicBezTo>
                    <a:pt x="0" y="232726"/>
                    <a:pt x="7146" y="225587"/>
                    <a:pt x="15720" y="225587"/>
                  </a:cubicBezTo>
                  <a:cubicBezTo>
                    <a:pt x="15720" y="225587"/>
                    <a:pt x="15720" y="225587"/>
                    <a:pt x="46446" y="225587"/>
                  </a:cubicBezTo>
                  <a:cubicBezTo>
                    <a:pt x="46446" y="225587"/>
                    <a:pt x="46446" y="225587"/>
                    <a:pt x="46446" y="15706"/>
                  </a:cubicBezTo>
                  <a:cubicBezTo>
                    <a:pt x="46446" y="6425"/>
                    <a:pt x="53592" y="0"/>
                    <a:pt x="6216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C42C0CD-EC8A-4424-8025-A481D75DB6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17797" y="2771408"/>
            <a:ext cx="914400" cy="914400"/>
          </a:xfrm>
          <a:prstGeom prst="rect">
            <a:avLst/>
          </a:prstGeom>
        </p:spPr>
      </p:pic>
      <p:pic>
        <p:nvPicPr>
          <p:cNvPr id="7" name="Graphic 6" descr="Briefcase">
            <a:extLst>
              <a:ext uri="{FF2B5EF4-FFF2-40B4-BE49-F238E27FC236}">
                <a16:creationId xmlns:a16="http://schemas.microsoft.com/office/drawing/2014/main" id="{2CD57901-C141-44F1-8FE9-8C4A3073AC9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17797" y="106606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67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506D51-054C-4234-967D-B57D91D722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982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1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506D51-054C-4234-967D-B57D91D72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488CF0B-51F5-4E16-BA45-7955609C53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279B67-3F75-4D3A-A466-12D33B0C2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310" y="2476966"/>
            <a:ext cx="3127881" cy="1495794"/>
          </a:xfrm>
        </p:spPr>
        <p:txBody>
          <a:bodyPr vert="horz"/>
          <a:lstStyle/>
          <a:p>
            <a:r>
              <a:rPr lang="en-US" dirty="0"/>
              <a:t>Online portfolio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DM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411BB-6FA7-4387-BD95-DCB620A6029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820108" y="1961298"/>
            <a:ext cx="5634456" cy="2935403"/>
          </a:xfrm>
        </p:spPr>
        <p:txBody>
          <a:bodyPr/>
          <a:lstStyle/>
          <a:p>
            <a:pPr marL="111600" lvl="1" indent="0">
              <a:buNone/>
            </a:pPr>
            <a:r>
              <a:rPr lang="en-US" sz="1600" dirty="0"/>
              <a:t>You can add a README file to your repository as it will be first thing anyone looks at before diving into your work.</a:t>
            </a:r>
          </a:p>
          <a:p>
            <a:pPr marL="111600" lvl="1" indent="0">
              <a:buNone/>
            </a:pPr>
            <a:endParaRPr lang="en-US" sz="1600" dirty="0"/>
          </a:p>
          <a:p>
            <a:pPr marL="111600" lvl="1" indent="0">
              <a:buNone/>
            </a:pPr>
            <a:endParaRPr lang="en-US" sz="1600" dirty="0"/>
          </a:p>
          <a:p>
            <a:pPr marL="111600" lvl="1" indent="0">
              <a:buNone/>
            </a:pPr>
            <a:r>
              <a:rPr lang="en-US" sz="1600" dirty="0"/>
              <a:t>Have a README to:</a:t>
            </a:r>
          </a:p>
          <a:p>
            <a:pPr lvl="2"/>
            <a:r>
              <a:rPr lang="en-US" sz="1600" dirty="0"/>
              <a:t>Describe the purpose of the project</a:t>
            </a:r>
          </a:p>
          <a:p>
            <a:pPr lvl="2"/>
            <a:r>
              <a:rPr lang="en-US" sz="1600" dirty="0"/>
              <a:t>Tools, techniques &amp; technologies used in the project</a:t>
            </a:r>
          </a:p>
          <a:p>
            <a:pPr lvl="2"/>
            <a:r>
              <a:rPr lang="en-US" sz="1600" dirty="0"/>
              <a:t>Screenshots/videos</a:t>
            </a:r>
          </a:p>
          <a:p>
            <a:pPr lvl="2"/>
            <a:r>
              <a:rPr lang="en-US" sz="1600" dirty="0"/>
              <a:t>Usage of the project</a:t>
            </a:r>
          </a:p>
          <a:p>
            <a:pPr lvl="2"/>
            <a:r>
              <a:rPr lang="en-US" sz="1600" dirty="0"/>
              <a:t>Link to the installer/webpa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2575692-5C10-466B-B5EA-D4AA2E9F445E}"/>
              </a:ext>
            </a:extLst>
          </p:cNvPr>
          <p:cNvSpPr txBox="1"/>
          <p:nvPr/>
        </p:nvSpPr>
        <p:spPr>
          <a:xfrm>
            <a:off x="5820108" y="810228"/>
            <a:ext cx="2280213" cy="62503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README</a:t>
            </a:r>
          </a:p>
        </p:txBody>
      </p:sp>
      <p:pic>
        <p:nvPicPr>
          <p:cNvPr id="22" name="Graphic 21" descr="Presentation with checklist">
            <a:extLst>
              <a:ext uri="{FF2B5EF4-FFF2-40B4-BE49-F238E27FC236}">
                <a16:creationId xmlns:a16="http://schemas.microsoft.com/office/drawing/2014/main" id="{AED96E0A-B491-4E33-BA7B-E149D80FD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07495" y="1857008"/>
            <a:ext cx="914400" cy="914400"/>
          </a:xfrm>
          <a:prstGeom prst="rect">
            <a:avLst/>
          </a:prstGeom>
        </p:spPr>
      </p:pic>
      <p:pic>
        <p:nvPicPr>
          <p:cNvPr id="24" name="Graphic 23" descr="Boardroom">
            <a:extLst>
              <a:ext uri="{FF2B5EF4-FFF2-40B4-BE49-F238E27FC236}">
                <a16:creationId xmlns:a16="http://schemas.microsoft.com/office/drawing/2014/main" id="{4BCF2EAC-8AE0-4855-8EC8-9F4FC03117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07495" y="322486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13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506D51-054C-4234-967D-B57D91D722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524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8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506D51-054C-4234-967D-B57D91D72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488CF0B-51F5-4E16-BA45-7955609C53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279B67-3F75-4D3A-A466-12D33B0C2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460" y="2437663"/>
            <a:ext cx="3127881" cy="1495794"/>
          </a:xfrm>
        </p:spPr>
        <p:txBody>
          <a:bodyPr vert="horz"/>
          <a:lstStyle/>
          <a:p>
            <a:r>
              <a:rPr lang="en-US" dirty="0"/>
              <a:t>Online portfolio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jects to show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411BB-6FA7-4387-BD95-DCB620A6029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11971" y="2060641"/>
            <a:ext cx="5634456" cy="2476635"/>
          </a:xfrm>
        </p:spPr>
        <p:txBody>
          <a:bodyPr/>
          <a:lstStyle/>
          <a:p>
            <a:pPr marL="345600" lvl="2" indent="0">
              <a:buNone/>
            </a:pPr>
            <a:endParaRPr lang="en-US" sz="1600" dirty="0"/>
          </a:p>
          <a:p>
            <a:pPr>
              <a:buNone/>
            </a:pPr>
            <a:r>
              <a:rPr lang="en-US" sz="1600" b="1" dirty="0"/>
              <a:t>What if I don’t have big projects to show?</a:t>
            </a:r>
          </a:p>
          <a:p>
            <a:pPr>
              <a:buNone/>
            </a:pPr>
            <a:r>
              <a:rPr lang="en-US" sz="1600" dirty="0"/>
              <a:t>Good. Smaller projects are easier to show, easier to explain and easier to understand for the interviewer.</a:t>
            </a:r>
          </a:p>
          <a:p>
            <a:pPr>
              <a:buNone/>
            </a:pPr>
            <a:r>
              <a:rPr lang="en-US" sz="1600" dirty="0"/>
              <a:t>For instance, everyone can grasp a good old Connect Four.</a:t>
            </a:r>
          </a:p>
          <a:p>
            <a:pPr>
              <a:buNone/>
            </a:pPr>
            <a:r>
              <a:rPr lang="en-US" sz="1600" dirty="0"/>
              <a:t>Have practice of adding verified works to </a:t>
            </a:r>
            <a:r>
              <a:rPr lang="en-US" sz="1600" dirty="0" err="1"/>
              <a:t>github</a:t>
            </a:r>
            <a:r>
              <a:rPr lang="en-US" sz="1600" dirty="0"/>
              <a:t> to build up your profile</a:t>
            </a:r>
          </a:p>
        </p:txBody>
      </p:sp>
      <p:pic>
        <p:nvPicPr>
          <p:cNvPr id="5" name="Graphic 4" descr="Hierarchy">
            <a:extLst>
              <a:ext uri="{FF2B5EF4-FFF2-40B4-BE49-F238E27FC236}">
                <a16:creationId xmlns:a16="http://schemas.microsoft.com/office/drawing/2014/main" id="{484D7C0A-8528-4E18-958C-267095FBB3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58020" y="227116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55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506D51-054C-4234-967D-B57D91D722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927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506D51-054C-4234-967D-B57D91D72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488CF0B-51F5-4E16-BA45-7955609C53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279B67-3F75-4D3A-A466-12D33B0C2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85" y="1988373"/>
            <a:ext cx="3127881" cy="1495794"/>
          </a:xfrm>
        </p:spPr>
        <p:txBody>
          <a:bodyPr vert="horz"/>
          <a:lstStyle/>
          <a:p>
            <a:r>
              <a:rPr lang="en-US" dirty="0"/>
              <a:t>Online portfolio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 websi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411BB-6FA7-4387-BD95-DCB620A6029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30759" y="1384366"/>
            <a:ext cx="5634456" cy="2476635"/>
          </a:xfrm>
        </p:spPr>
        <p:txBody>
          <a:bodyPr/>
          <a:lstStyle/>
          <a:p>
            <a:pPr marL="345600" lvl="2" indent="0">
              <a:buNone/>
            </a:pPr>
            <a:endParaRPr lang="en-US" sz="1600" dirty="0"/>
          </a:p>
          <a:p>
            <a:pPr>
              <a:buNone/>
            </a:pPr>
            <a:r>
              <a:rPr lang="en-US" sz="1600" b="1" dirty="0"/>
              <a:t>We will use GitHub pages to serve the README of your project as a website. </a:t>
            </a:r>
          </a:p>
          <a:p>
            <a:pPr>
              <a:buNone/>
            </a:pPr>
            <a:endParaRPr lang="en-US" sz="1600" b="1" dirty="0"/>
          </a:p>
          <a:p>
            <a:pPr>
              <a:buNone/>
            </a:pPr>
            <a:r>
              <a:rPr lang="en-US" sz="1600" b="1" dirty="0"/>
              <a:t>GitHub hosts these websites, so they are free to you. </a:t>
            </a:r>
          </a:p>
          <a:p>
            <a:pPr>
              <a:buNone/>
            </a:pPr>
            <a:endParaRPr lang="en-US" sz="1600" b="1" dirty="0"/>
          </a:p>
          <a:p>
            <a:pPr>
              <a:buNone/>
            </a:pPr>
            <a:r>
              <a:rPr lang="en-US" sz="1600" b="1" dirty="0"/>
              <a:t>We will be using markdown</a:t>
            </a:r>
            <a:r>
              <a:rPr lang="en-US" sz="1600" b="1" baseline="30000" dirty="0"/>
              <a:t>1</a:t>
            </a:r>
            <a:r>
              <a:rPr lang="en-US" sz="1600" b="1" dirty="0"/>
              <a:t> to build a portfolio.</a:t>
            </a:r>
          </a:p>
          <a:p>
            <a:pPr>
              <a:buNone/>
            </a:pPr>
            <a:endParaRPr lang="en-US" sz="1600" b="1" dirty="0"/>
          </a:p>
          <a:p>
            <a:pPr>
              <a:buNone/>
            </a:pPr>
            <a:r>
              <a:rPr lang="en-US" sz="1600" b="1" dirty="0"/>
              <a:t>After we set up our website, we will use one of the existing themes from Jekyll to give it a more aesthetic feel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78747FE-BA57-477C-8B48-A941D1CBDC6D}"/>
              </a:ext>
            </a:extLst>
          </p:cNvPr>
          <p:cNvGrpSpPr>
            <a:grpSpLocks noChangeAspect="1"/>
          </p:cNvGrpSpPr>
          <p:nvPr/>
        </p:nvGrpSpPr>
        <p:grpSpPr>
          <a:xfrm>
            <a:off x="4438650" y="1384366"/>
            <a:ext cx="1327150" cy="1327150"/>
            <a:chOff x="5273675" y="2606675"/>
            <a:chExt cx="1644650" cy="1644650"/>
          </a:xfrm>
        </p:grpSpPr>
        <p:sp>
          <p:nvSpPr>
            <p:cNvPr id="11" name="AutoShape 3">
              <a:extLst>
                <a:ext uri="{FF2B5EF4-FFF2-40B4-BE49-F238E27FC236}">
                  <a16:creationId xmlns:a16="http://schemas.microsoft.com/office/drawing/2014/main" id="{61D4465C-F0DF-474E-B504-9EF9516CD99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05F1015-0743-469D-A496-49FBF6C45946}"/>
                </a:ext>
              </a:extLst>
            </p:cNvPr>
            <p:cNvGrpSpPr/>
            <p:nvPr/>
          </p:nvGrpSpPr>
          <p:grpSpPr>
            <a:xfrm>
              <a:off x="5648325" y="2890838"/>
              <a:ext cx="895350" cy="1185863"/>
              <a:chOff x="5648325" y="2890838"/>
              <a:chExt cx="895350" cy="1185863"/>
            </a:xfrm>
          </p:grpSpPr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4A39D9A1-F0A4-49EA-BCE4-9934F4A06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8325" y="2890838"/>
                <a:ext cx="895350" cy="1185863"/>
              </a:xfrm>
              <a:custGeom>
                <a:avLst/>
                <a:gdLst>
                  <a:gd name="connsiteX0" fmla="*/ 178355 w 895350"/>
                  <a:gd name="connsiteY0" fmla="*/ 1022350 h 1185863"/>
                  <a:gd name="connsiteX1" fmla="*/ 716995 w 895350"/>
                  <a:gd name="connsiteY1" fmla="*/ 1022350 h 1185863"/>
                  <a:gd name="connsiteX2" fmla="*/ 733425 w 895350"/>
                  <a:gd name="connsiteY2" fmla="*/ 1039374 h 1185863"/>
                  <a:gd name="connsiteX3" fmla="*/ 716995 w 895350"/>
                  <a:gd name="connsiteY3" fmla="*/ 1055688 h 1185863"/>
                  <a:gd name="connsiteX4" fmla="*/ 178355 w 895350"/>
                  <a:gd name="connsiteY4" fmla="*/ 1055688 h 1185863"/>
                  <a:gd name="connsiteX5" fmla="*/ 161925 w 895350"/>
                  <a:gd name="connsiteY5" fmla="*/ 1039374 h 1185863"/>
                  <a:gd name="connsiteX6" fmla="*/ 178355 w 895350"/>
                  <a:gd name="connsiteY6" fmla="*/ 1022350 h 1185863"/>
                  <a:gd name="connsiteX7" fmla="*/ 385578 w 895350"/>
                  <a:gd name="connsiteY7" fmla="*/ 880188 h 1185863"/>
                  <a:gd name="connsiteX8" fmla="*/ 389861 w 895350"/>
                  <a:gd name="connsiteY8" fmla="*/ 885180 h 1185863"/>
                  <a:gd name="connsiteX9" fmla="*/ 393430 w 895350"/>
                  <a:gd name="connsiteY9" fmla="*/ 901581 h 1185863"/>
                  <a:gd name="connsiteX10" fmla="*/ 427690 w 895350"/>
                  <a:gd name="connsiteY10" fmla="*/ 977170 h 1185863"/>
                  <a:gd name="connsiteX11" fmla="*/ 439110 w 895350"/>
                  <a:gd name="connsiteY11" fmla="*/ 962908 h 1185863"/>
                  <a:gd name="connsiteX12" fmla="*/ 454099 w 895350"/>
                  <a:gd name="connsiteY12" fmla="*/ 944367 h 1185863"/>
                  <a:gd name="connsiteX13" fmla="*/ 454813 w 895350"/>
                  <a:gd name="connsiteY13" fmla="*/ 942228 h 1185863"/>
                  <a:gd name="connsiteX14" fmla="*/ 456240 w 895350"/>
                  <a:gd name="connsiteY14" fmla="*/ 940802 h 1185863"/>
                  <a:gd name="connsiteX15" fmla="*/ 468374 w 895350"/>
                  <a:gd name="connsiteY15" fmla="*/ 932958 h 1185863"/>
                  <a:gd name="connsiteX16" fmla="*/ 469088 w 895350"/>
                  <a:gd name="connsiteY16" fmla="*/ 932245 h 1185863"/>
                  <a:gd name="connsiteX17" fmla="*/ 470516 w 895350"/>
                  <a:gd name="connsiteY17" fmla="*/ 932245 h 1185863"/>
                  <a:gd name="connsiteX18" fmla="*/ 500493 w 895350"/>
                  <a:gd name="connsiteY18" fmla="*/ 942228 h 1185863"/>
                  <a:gd name="connsiteX19" fmla="*/ 504062 w 895350"/>
                  <a:gd name="connsiteY19" fmla="*/ 946507 h 1185863"/>
                  <a:gd name="connsiteX20" fmla="*/ 547602 w 895350"/>
                  <a:gd name="connsiteY20" fmla="*/ 932245 h 1185863"/>
                  <a:gd name="connsiteX21" fmla="*/ 551170 w 895350"/>
                  <a:gd name="connsiteY21" fmla="*/ 927966 h 1185863"/>
                  <a:gd name="connsiteX22" fmla="*/ 617550 w 895350"/>
                  <a:gd name="connsiteY22" fmla="*/ 898016 h 1185863"/>
                  <a:gd name="connsiteX23" fmla="*/ 630398 w 895350"/>
                  <a:gd name="connsiteY23" fmla="*/ 915130 h 1185863"/>
                  <a:gd name="connsiteX24" fmla="*/ 613267 w 895350"/>
                  <a:gd name="connsiteY24" fmla="*/ 927966 h 1185863"/>
                  <a:gd name="connsiteX25" fmla="*/ 571156 w 895350"/>
                  <a:gd name="connsiteY25" fmla="*/ 951498 h 1185863"/>
                  <a:gd name="connsiteX26" fmla="*/ 567587 w 895350"/>
                  <a:gd name="connsiteY26" fmla="*/ 955064 h 1185863"/>
                  <a:gd name="connsiteX27" fmla="*/ 486932 w 895350"/>
                  <a:gd name="connsiteY27" fmla="*/ 971465 h 1185863"/>
                  <a:gd name="connsiteX28" fmla="*/ 480508 w 895350"/>
                  <a:gd name="connsiteY28" fmla="*/ 966474 h 1185863"/>
                  <a:gd name="connsiteX29" fmla="*/ 476939 w 895350"/>
                  <a:gd name="connsiteY29" fmla="*/ 963621 h 1185863"/>
                  <a:gd name="connsiteX30" fmla="*/ 476939 w 895350"/>
                  <a:gd name="connsiteY30" fmla="*/ 964334 h 1185863"/>
                  <a:gd name="connsiteX31" fmla="*/ 461237 w 895350"/>
                  <a:gd name="connsiteY31" fmla="*/ 982875 h 1185863"/>
                  <a:gd name="connsiteX32" fmla="*/ 447675 w 895350"/>
                  <a:gd name="connsiteY32" fmla="*/ 1000702 h 1185863"/>
                  <a:gd name="connsiteX33" fmla="*/ 431973 w 895350"/>
                  <a:gd name="connsiteY33" fmla="*/ 1011399 h 1185863"/>
                  <a:gd name="connsiteX34" fmla="*/ 429831 w 895350"/>
                  <a:gd name="connsiteY34" fmla="*/ 1011399 h 1185863"/>
                  <a:gd name="connsiteX35" fmla="*/ 428404 w 895350"/>
                  <a:gd name="connsiteY35" fmla="*/ 1011399 h 1185863"/>
                  <a:gd name="connsiteX36" fmla="*/ 409132 w 895350"/>
                  <a:gd name="connsiteY36" fmla="*/ 1002129 h 1185863"/>
                  <a:gd name="connsiteX37" fmla="*/ 406991 w 895350"/>
                  <a:gd name="connsiteY37" fmla="*/ 999989 h 1185863"/>
                  <a:gd name="connsiteX38" fmla="*/ 406277 w 895350"/>
                  <a:gd name="connsiteY38" fmla="*/ 999276 h 1185863"/>
                  <a:gd name="connsiteX39" fmla="*/ 372017 w 895350"/>
                  <a:gd name="connsiteY39" fmla="*/ 934384 h 1185863"/>
                  <a:gd name="connsiteX40" fmla="*/ 289934 w 895350"/>
                  <a:gd name="connsiteY40" fmla="*/ 1007833 h 1185863"/>
                  <a:gd name="connsiteX41" fmla="*/ 268522 w 895350"/>
                  <a:gd name="connsiteY41" fmla="*/ 1004981 h 1185863"/>
                  <a:gd name="connsiteX42" fmla="*/ 271377 w 895350"/>
                  <a:gd name="connsiteY42" fmla="*/ 983588 h 1185863"/>
                  <a:gd name="connsiteX43" fmla="*/ 367734 w 895350"/>
                  <a:gd name="connsiteY43" fmla="*/ 894450 h 1185863"/>
                  <a:gd name="connsiteX44" fmla="*/ 379154 w 895350"/>
                  <a:gd name="connsiteY44" fmla="*/ 882328 h 1185863"/>
                  <a:gd name="connsiteX45" fmla="*/ 385578 w 895350"/>
                  <a:gd name="connsiteY45" fmla="*/ 880188 h 1185863"/>
                  <a:gd name="connsiteX46" fmla="*/ 31750 w 895350"/>
                  <a:gd name="connsiteY46" fmla="*/ 31750 h 1185863"/>
                  <a:gd name="connsiteX47" fmla="*/ 31750 w 895350"/>
                  <a:gd name="connsiteY47" fmla="*/ 1154113 h 1185863"/>
                  <a:gd name="connsiteX48" fmla="*/ 863600 w 895350"/>
                  <a:gd name="connsiteY48" fmla="*/ 1154113 h 1185863"/>
                  <a:gd name="connsiteX49" fmla="*/ 863600 w 895350"/>
                  <a:gd name="connsiteY49" fmla="*/ 31750 h 1185863"/>
                  <a:gd name="connsiteX50" fmla="*/ 31750 w 895350"/>
                  <a:gd name="connsiteY50" fmla="*/ 31750 h 1185863"/>
                  <a:gd name="connsiteX51" fmla="*/ 15708 w 895350"/>
                  <a:gd name="connsiteY51" fmla="*/ 0 h 1185863"/>
                  <a:gd name="connsiteX52" fmla="*/ 879642 w 895350"/>
                  <a:gd name="connsiteY52" fmla="*/ 0 h 1185863"/>
                  <a:gd name="connsiteX53" fmla="*/ 895350 w 895350"/>
                  <a:gd name="connsiteY53" fmla="*/ 15697 h 1185863"/>
                  <a:gd name="connsiteX54" fmla="*/ 895350 w 895350"/>
                  <a:gd name="connsiteY54" fmla="*/ 1170166 h 1185863"/>
                  <a:gd name="connsiteX55" fmla="*/ 879642 w 895350"/>
                  <a:gd name="connsiteY55" fmla="*/ 1185863 h 1185863"/>
                  <a:gd name="connsiteX56" fmla="*/ 15708 w 895350"/>
                  <a:gd name="connsiteY56" fmla="*/ 1185863 h 1185863"/>
                  <a:gd name="connsiteX57" fmla="*/ 0 w 895350"/>
                  <a:gd name="connsiteY57" fmla="*/ 1170166 h 1185863"/>
                  <a:gd name="connsiteX58" fmla="*/ 0 w 895350"/>
                  <a:gd name="connsiteY58" fmla="*/ 15697 h 1185863"/>
                  <a:gd name="connsiteX59" fmla="*/ 15708 w 895350"/>
                  <a:gd name="connsiteY59" fmla="*/ 0 h 1185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895350" h="1185863">
                    <a:moveTo>
                      <a:pt x="178355" y="1022350"/>
                    </a:moveTo>
                    <a:cubicBezTo>
                      <a:pt x="432673" y="1022350"/>
                      <a:pt x="716995" y="1022350"/>
                      <a:pt x="716995" y="1022350"/>
                    </a:cubicBezTo>
                    <a:cubicBezTo>
                      <a:pt x="726281" y="1022350"/>
                      <a:pt x="733425" y="1029443"/>
                      <a:pt x="733425" y="1039374"/>
                    </a:cubicBezTo>
                    <a:cubicBezTo>
                      <a:pt x="733425" y="1047886"/>
                      <a:pt x="726281" y="1055688"/>
                      <a:pt x="716995" y="1055688"/>
                    </a:cubicBezTo>
                    <a:cubicBezTo>
                      <a:pt x="716995" y="1055688"/>
                      <a:pt x="716995" y="1055688"/>
                      <a:pt x="178355" y="1055688"/>
                    </a:cubicBezTo>
                    <a:cubicBezTo>
                      <a:pt x="169069" y="1055688"/>
                      <a:pt x="161925" y="1047886"/>
                      <a:pt x="161925" y="1039374"/>
                    </a:cubicBezTo>
                    <a:cubicBezTo>
                      <a:pt x="161925" y="1029443"/>
                      <a:pt x="169069" y="1022350"/>
                      <a:pt x="178355" y="1022350"/>
                    </a:cubicBezTo>
                    <a:close/>
                    <a:moveTo>
                      <a:pt x="385578" y="880188"/>
                    </a:moveTo>
                    <a:cubicBezTo>
                      <a:pt x="387719" y="880901"/>
                      <a:pt x="389147" y="883041"/>
                      <a:pt x="389861" y="885180"/>
                    </a:cubicBezTo>
                    <a:cubicBezTo>
                      <a:pt x="389861" y="885180"/>
                      <a:pt x="389861" y="885180"/>
                      <a:pt x="393430" y="901581"/>
                    </a:cubicBezTo>
                    <a:cubicBezTo>
                      <a:pt x="399853" y="926540"/>
                      <a:pt x="411273" y="952925"/>
                      <a:pt x="427690" y="977170"/>
                    </a:cubicBezTo>
                    <a:cubicBezTo>
                      <a:pt x="431973" y="972891"/>
                      <a:pt x="435541" y="967900"/>
                      <a:pt x="439110" y="962908"/>
                    </a:cubicBezTo>
                    <a:cubicBezTo>
                      <a:pt x="445534" y="956490"/>
                      <a:pt x="449103" y="950785"/>
                      <a:pt x="454099" y="944367"/>
                    </a:cubicBezTo>
                    <a:cubicBezTo>
                      <a:pt x="454813" y="942228"/>
                      <a:pt x="454813" y="942228"/>
                      <a:pt x="454813" y="942228"/>
                    </a:cubicBezTo>
                    <a:cubicBezTo>
                      <a:pt x="455527" y="942228"/>
                      <a:pt x="456240" y="941515"/>
                      <a:pt x="456240" y="940802"/>
                    </a:cubicBezTo>
                    <a:cubicBezTo>
                      <a:pt x="458382" y="938663"/>
                      <a:pt x="462664" y="934384"/>
                      <a:pt x="468374" y="932958"/>
                    </a:cubicBezTo>
                    <a:cubicBezTo>
                      <a:pt x="469088" y="932245"/>
                      <a:pt x="469088" y="932245"/>
                      <a:pt x="469088" y="932245"/>
                    </a:cubicBezTo>
                    <a:cubicBezTo>
                      <a:pt x="470516" y="932245"/>
                      <a:pt x="470516" y="932245"/>
                      <a:pt x="470516" y="932245"/>
                    </a:cubicBezTo>
                    <a:cubicBezTo>
                      <a:pt x="483363" y="928679"/>
                      <a:pt x="494070" y="937236"/>
                      <a:pt x="500493" y="942228"/>
                    </a:cubicBezTo>
                    <a:cubicBezTo>
                      <a:pt x="501921" y="944367"/>
                      <a:pt x="502635" y="945794"/>
                      <a:pt x="504062" y="946507"/>
                    </a:cubicBezTo>
                    <a:cubicBezTo>
                      <a:pt x="515482" y="953638"/>
                      <a:pt x="534754" y="942941"/>
                      <a:pt x="547602" y="932245"/>
                    </a:cubicBezTo>
                    <a:cubicBezTo>
                      <a:pt x="548315" y="930818"/>
                      <a:pt x="549743" y="929392"/>
                      <a:pt x="551170" y="927966"/>
                    </a:cubicBezTo>
                    <a:cubicBezTo>
                      <a:pt x="568301" y="912991"/>
                      <a:pt x="589713" y="893737"/>
                      <a:pt x="617550" y="898016"/>
                    </a:cubicBezTo>
                    <a:cubicBezTo>
                      <a:pt x="626115" y="899442"/>
                      <a:pt x="631825" y="907286"/>
                      <a:pt x="630398" y="915130"/>
                    </a:cubicBezTo>
                    <a:cubicBezTo>
                      <a:pt x="628970" y="923687"/>
                      <a:pt x="621119" y="929392"/>
                      <a:pt x="613267" y="927966"/>
                    </a:cubicBezTo>
                    <a:cubicBezTo>
                      <a:pt x="599706" y="925827"/>
                      <a:pt x="585431" y="938663"/>
                      <a:pt x="571156" y="951498"/>
                    </a:cubicBezTo>
                    <a:cubicBezTo>
                      <a:pt x="569728" y="952925"/>
                      <a:pt x="568301" y="953638"/>
                      <a:pt x="567587" y="955064"/>
                    </a:cubicBezTo>
                    <a:cubicBezTo>
                      <a:pt x="538323" y="980022"/>
                      <a:pt x="508345" y="986440"/>
                      <a:pt x="486932" y="971465"/>
                    </a:cubicBezTo>
                    <a:cubicBezTo>
                      <a:pt x="484077" y="969326"/>
                      <a:pt x="482649" y="967900"/>
                      <a:pt x="480508" y="966474"/>
                    </a:cubicBezTo>
                    <a:cubicBezTo>
                      <a:pt x="479794" y="965760"/>
                      <a:pt x="478367" y="964334"/>
                      <a:pt x="476939" y="963621"/>
                    </a:cubicBezTo>
                    <a:cubicBezTo>
                      <a:pt x="476939" y="964334"/>
                      <a:pt x="476939" y="964334"/>
                      <a:pt x="476939" y="964334"/>
                    </a:cubicBezTo>
                    <a:cubicBezTo>
                      <a:pt x="471943" y="970039"/>
                      <a:pt x="466947" y="976457"/>
                      <a:pt x="461237" y="982875"/>
                    </a:cubicBezTo>
                    <a:cubicBezTo>
                      <a:pt x="456954" y="988580"/>
                      <a:pt x="451244" y="994284"/>
                      <a:pt x="447675" y="1000702"/>
                    </a:cubicBezTo>
                    <a:cubicBezTo>
                      <a:pt x="445534" y="1003555"/>
                      <a:pt x="440538" y="1009260"/>
                      <a:pt x="431973" y="1011399"/>
                    </a:cubicBezTo>
                    <a:cubicBezTo>
                      <a:pt x="431973" y="1011399"/>
                      <a:pt x="431973" y="1011399"/>
                      <a:pt x="429831" y="1011399"/>
                    </a:cubicBezTo>
                    <a:cubicBezTo>
                      <a:pt x="428404" y="1011399"/>
                      <a:pt x="428404" y="1011399"/>
                      <a:pt x="428404" y="1011399"/>
                    </a:cubicBezTo>
                    <a:cubicBezTo>
                      <a:pt x="418411" y="1011399"/>
                      <a:pt x="412701" y="1004981"/>
                      <a:pt x="409132" y="1002129"/>
                    </a:cubicBezTo>
                    <a:cubicBezTo>
                      <a:pt x="406991" y="999989"/>
                      <a:pt x="406991" y="999989"/>
                      <a:pt x="406991" y="999989"/>
                    </a:cubicBezTo>
                    <a:cubicBezTo>
                      <a:pt x="406277" y="999276"/>
                      <a:pt x="406277" y="999276"/>
                      <a:pt x="406277" y="999276"/>
                    </a:cubicBezTo>
                    <a:cubicBezTo>
                      <a:pt x="392002" y="979309"/>
                      <a:pt x="380582" y="957203"/>
                      <a:pt x="372017" y="934384"/>
                    </a:cubicBezTo>
                    <a:cubicBezTo>
                      <a:pt x="346321" y="961482"/>
                      <a:pt x="319199" y="985727"/>
                      <a:pt x="289934" y="1007833"/>
                    </a:cubicBezTo>
                    <a:cubicBezTo>
                      <a:pt x="282797" y="1012825"/>
                      <a:pt x="274232" y="1011399"/>
                      <a:pt x="268522" y="1004981"/>
                    </a:cubicBezTo>
                    <a:cubicBezTo>
                      <a:pt x="263525" y="998563"/>
                      <a:pt x="264953" y="988580"/>
                      <a:pt x="271377" y="983588"/>
                    </a:cubicBezTo>
                    <a:cubicBezTo>
                      <a:pt x="305637" y="957916"/>
                      <a:pt x="337756" y="927253"/>
                      <a:pt x="367734" y="894450"/>
                    </a:cubicBezTo>
                    <a:cubicBezTo>
                      <a:pt x="367734" y="894450"/>
                      <a:pt x="367734" y="894450"/>
                      <a:pt x="379154" y="882328"/>
                    </a:cubicBezTo>
                    <a:cubicBezTo>
                      <a:pt x="380582" y="880188"/>
                      <a:pt x="383437" y="879475"/>
                      <a:pt x="385578" y="880188"/>
                    </a:cubicBezTo>
                    <a:close/>
                    <a:moveTo>
                      <a:pt x="31750" y="31750"/>
                    </a:moveTo>
                    <a:cubicBezTo>
                      <a:pt x="31750" y="31750"/>
                      <a:pt x="31750" y="31750"/>
                      <a:pt x="31750" y="1154113"/>
                    </a:cubicBezTo>
                    <a:cubicBezTo>
                      <a:pt x="31750" y="1154113"/>
                      <a:pt x="31750" y="1154113"/>
                      <a:pt x="863600" y="1154113"/>
                    </a:cubicBezTo>
                    <a:cubicBezTo>
                      <a:pt x="863600" y="1154113"/>
                      <a:pt x="863600" y="482693"/>
                      <a:pt x="863600" y="31750"/>
                    </a:cubicBezTo>
                    <a:cubicBezTo>
                      <a:pt x="863600" y="31750"/>
                      <a:pt x="863600" y="31750"/>
                      <a:pt x="31750" y="31750"/>
                    </a:cubicBezTo>
                    <a:close/>
                    <a:moveTo>
                      <a:pt x="15708" y="0"/>
                    </a:moveTo>
                    <a:cubicBezTo>
                      <a:pt x="15708" y="0"/>
                      <a:pt x="15708" y="0"/>
                      <a:pt x="879642" y="0"/>
                    </a:cubicBezTo>
                    <a:cubicBezTo>
                      <a:pt x="888924" y="0"/>
                      <a:pt x="895350" y="7135"/>
                      <a:pt x="895350" y="15697"/>
                    </a:cubicBezTo>
                    <a:cubicBezTo>
                      <a:pt x="895350" y="15697"/>
                      <a:pt x="895350" y="775592"/>
                      <a:pt x="895350" y="1170166"/>
                    </a:cubicBezTo>
                    <a:cubicBezTo>
                      <a:pt x="895350" y="1179442"/>
                      <a:pt x="888924" y="1185863"/>
                      <a:pt x="879642" y="1185863"/>
                    </a:cubicBezTo>
                    <a:cubicBezTo>
                      <a:pt x="879642" y="1185863"/>
                      <a:pt x="879642" y="1185863"/>
                      <a:pt x="15708" y="1185863"/>
                    </a:cubicBezTo>
                    <a:cubicBezTo>
                      <a:pt x="6426" y="1185863"/>
                      <a:pt x="0" y="1179442"/>
                      <a:pt x="0" y="1170166"/>
                    </a:cubicBezTo>
                    <a:cubicBezTo>
                      <a:pt x="0" y="1170166"/>
                      <a:pt x="0" y="1170166"/>
                      <a:pt x="0" y="15697"/>
                    </a:cubicBezTo>
                    <a:cubicBezTo>
                      <a:pt x="0" y="7135"/>
                      <a:pt x="6426" y="0"/>
                      <a:pt x="1570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2">
                <a:extLst>
                  <a:ext uri="{FF2B5EF4-FFF2-40B4-BE49-F238E27FC236}">
                    <a16:creationId xmlns:a16="http://schemas.microsoft.com/office/drawing/2014/main" id="{5D44775C-9E2E-485D-B3C8-CAC6EC61A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0250" y="3079750"/>
                <a:ext cx="573088" cy="550863"/>
              </a:xfrm>
              <a:custGeom>
                <a:avLst/>
                <a:gdLst>
                  <a:gd name="connsiteX0" fmla="*/ 16395 w 573088"/>
                  <a:gd name="connsiteY0" fmla="*/ 517525 h 550863"/>
                  <a:gd name="connsiteX1" fmla="*/ 556694 w 573088"/>
                  <a:gd name="connsiteY1" fmla="*/ 517525 h 550863"/>
                  <a:gd name="connsiteX2" fmla="*/ 573088 w 573088"/>
                  <a:gd name="connsiteY2" fmla="*/ 533839 h 550863"/>
                  <a:gd name="connsiteX3" fmla="*/ 556694 w 573088"/>
                  <a:gd name="connsiteY3" fmla="*/ 550863 h 550863"/>
                  <a:gd name="connsiteX4" fmla="*/ 16395 w 573088"/>
                  <a:gd name="connsiteY4" fmla="*/ 550863 h 550863"/>
                  <a:gd name="connsiteX5" fmla="*/ 0 w 573088"/>
                  <a:gd name="connsiteY5" fmla="*/ 533839 h 550863"/>
                  <a:gd name="connsiteX6" fmla="*/ 16395 w 573088"/>
                  <a:gd name="connsiteY6" fmla="*/ 517525 h 550863"/>
                  <a:gd name="connsiteX7" fmla="*/ 16395 w 573088"/>
                  <a:gd name="connsiteY7" fmla="*/ 388938 h 550863"/>
                  <a:gd name="connsiteX8" fmla="*/ 556694 w 573088"/>
                  <a:gd name="connsiteY8" fmla="*/ 388938 h 550863"/>
                  <a:gd name="connsiteX9" fmla="*/ 573088 w 573088"/>
                  <a:gd name="connsiteY9" fmla="*/ 404092 h 550863"/>
                  <a:gd name="connsiteX10" fmla="*/ 556694 w 573088"/>
                  <a:gd name="connsiteY10" fmla="*/ 420688 h 550863"/>
                  <a:gd name="connsiteX11" fmla="*/ 16395 w 573088"/>
                  <a:gd name="connsiteY11" fmla="*/ 420688 h 550863"/>
                  <a:gd name="connsiteX12" fmla="*/ 0 w 573088"/>
                  <a:gd name="connsiteY12" fmla="*/ 404092 h 550863"/>
                  <a:gd name="connsiteX13" fmla="*/ 16395 w 573088"/>
                  <a:gd name="connsiteY13" fmla="*/ 388938 h 550863"/>
                  <a:gd name="connsiteX14" fmla="*/ 16395 w 573088"/>
                  <a:gd name="connsiteY14" fmla="*/ 257175 h 550863"/>
                  <a:gd name="connsiteX15" fmla="*/ 556694 w 573088"/>
                  <a:gd name="connsiteY15" fmla="*/ 257175 h 550863"/>
                  <a:gd name="connsiteX16" fmla="*/ 573088 w 573088"/>
                  <a:gd name="connsiteY16" fmla="*/ 276093 h 550863"/>
                  <a:gd name="connsiteX17" fmla="*/ 556694 w 573088"/>
                  <a:gd name="connsiteY17" fmla="*/ 292100 h 550863"/>
                  <a:gd name="connsiteX18" fmla="*/ 16395 w 573088"/>
                  <a:gd name="connsiteY18" fmla="*/ 292100 h 550863"/>
                  <a:gd name="connsiteX19" fmla="*/ 0 w 573088"/>
                  <a:gd name="connsiteY19" fmla="*/ 276093 h 550863"/>
                  <a:gd name="connsiteX20" fmla="*/ 16395 w 573088"/>
                  <a:gd name="connsiteY20" fmla="*/ 257175 h 550863"/>
                  <a:gd name="connsiteX21" fmla="*/ 16395 w 573088"/>
                  <a:gd name="connsiteY21" fmla="*/ 130175 h 550863"/>
                  <a:gd name="connsiteX22" fmla="*/ 556694 w 573088"/>
                  <a:gd name="connsiteY22" fmla="*/ 130175 h 550863"/>
                  <a:gd name="connsiteX23" fmla="*/ 573088 w 573088"/>
                  <a:gd name="connsiteY23" fmla="*/ 145329 h 550863"/>
                  <a:gd name="connsiteX24" fmla="*/ 556694 w 573088"/>
                  <a:gd name="connsiteY24" fmla="*/ 161925 h 550863"/>
                  <a:gd name="connsiteX25" fmla="*/ 16395 w 573088"/>
                  <a:gd name="connsiteY25" fmla="*/ 161925 h 550863"/>
                  <a:gd name="connsiteX26" fmla="*/ 0 w 573088"/>
                  <a:gd name="connsiteY26" fmla="*/ 145329 h 550863"/>
                  <a:gd name="connsiteX27" fmla="*/ 16395 w 573088"/>
                  <a:gd name="connsiteY27" fmla="*/ 130175 h 550863"/>
                  <a:gd name="connsiteX28" fmla="*/ 16395 w 573088"/>
                  <a:gd name="connsiteY28" fmla="*/ 0 h 550863"/>
                  <a:gd name="connsiteX29" fmla="*/ 556694 w 573088"/>
                  <a:gd name="connsiteY29" fmla="*/ 0 h 550863"/>
                  <a:gd name="connsiteX30" fmla="*/ 573088 w 573088"/>
                  <a:gd name="connsiteY30" fmla="*/ 16228 h 550863"/>
                  <a:gd name="connsiteX31" fmla="*/ 556694 w 573088"/>
                  <a:gd name="connsiteY31" fmla="*/ 31750 h 550863"/>
                  <a:gd name="connsiteX32" fmla="*/ 16395 w 573088"/>
                  <a:gd name="connsiteY32" fmla="*/ 31750 h 550863"/>
                  <a:gd name="connsiteX33" fmla="*/ 0 w 573088"/>
                  <a:gd name="connsiteY33" fmla="*/ 16228 h 550863"/>
                  <a:gd name="connsiteX34" fmla="*/ 16395 w 573088"/>
                  <a:gd name="connsiteY34" fmla="*/ 0 h 55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73088" h="550863">
                    <a:moveTo>
                      <a:pt x="16395" y="517525"/>
                    </a:moveTo>
                    <a:cubicBezTo>
                      <a:pt x="556694" y="517525"/>
                      <a:pt x="556694" y="517525"/>
                      <a:pt x="556694" y="517525"/>
                    </a:cubicBezTo>
                    <a:cubicBezTo>
                      <a:pt x="565960" y="517525"/>
                      <a:pt x="573088" y="524618"/>
                      <a:pt x="573088" y="533839"/>
                    </a:cubicBezTo>
                    <a:cubicBezTo>
                      <a:pt x="573088" y="543061"/>
                      <a:pt x="565960" y="550863"/>
                      <a:pt x="556694" y="550863"/>
                    </a:cubicBezTo>
                    <a:cubicBezTo>
                      <a:pt x="16395" y="550863"/>
                      <a:pt x="16395" y="550863"/>
                      <a:pt x="16395" y="550863"/>
                    </a:cubicBezTo>
                    <a:cubicBezTo>
                      <a:pt x="7128" y="550863"/>
                      <a:pt x="0" y="543061"/>
                      <a:pt x="0" y="533839"/>
                    </a:cubicBezTo>
                    <a:cubicBezTo>
                      <a:pt x="0" y="524618"/>
                      <a:pt x="7128" y="517525"/>
                      <a:pt x="16395" y="517525"/>
                    </a:cubicBezTo>
                    <a:close/>
                    <a:moveTo>
                      <a:pt x="16395" y="388938"/>
                    </a:moveTo>
                    <a:cubicBezTo>
                      <a:pt x="556694" y="388938"/>
                      <a:pt x="556694" y="388938"/>
                      <a:pt x="556694" y="388938"/>
                    </a:cubicBezTo>
                    <a:cubicBezTo>
                      <a:pt x="565960" y="388938"/>
                      <a:pt x="573088" y="396154"/>
                      <a:pt x="573088" y="404092"/>
                    </a:cubicBezTo>
                    <a:cubicBezTo>
                      <a:pt x="573088" y="414194"/>
                      <a:pt x="565960" y="420688"/>
                      <a:pt x="556694" y="420688"/>
                    </a:cubicBezTo>
                    <a:cubicBezTo>
                      <a:pt x="16395" y="420688"/>
                      <a:pt x="16395" y="420688"/>
                      <a:pt x="16395" y="420688"/>
                    </a:cubicBezTo>
                    <a:cubicBezTo>
                      <a:pt x="7128" y="420688"/>
                      <a:pt x="0" y="414194"/>
                      <a:pt x="0" y="404092"/>
                    </a:cubicBezTo>
                    <a:cubicBezTo>
                      <a:pt x="0" y="396154"/>
                      <a:pt x="7128" y="388938"/>
                      <a:pt x="16395" y="388938"/>
                    </a:cubicBezTo>
                    <a:close/>
                    <a:moveTo>
                      <a:pt x="16395" y="257175"/>
                    </a:moveTo>
                    <a:cubicBezTo>
                      <a:pt x="556694" y="257175"/>
                      <a:pt x="556694" y="257175"/>
                      <a:pt x="556694" y="257175"/>
                    </a:cubicBezTo>
                    <a:cubicBezTo>
                      <a:pt x="565960" y="257175"/>
                      <a:pt x="573088" y="264451"/>
                      <a:pt x="573088" y="276093"/>
                    </a:cubicBezTo>
                    <a:cubicBezTo>
                      <a:pt x="573088" y="285552"/>
                      <a:pt x="565960" y="292100"/>
                      <a:pt x="556694" y="292100"/>
                    </a:cubicBezTo>
                    <a:cubicBezTo>
                      <a:pt x="16395" y="292100"/>
                      <a:pt x="16395" y="292100"/>
                      <a:pt x="16395" y="292100"/>
                    </a:cubicBezTo>
                    <a:cubicBezTo>
                      <a:pt x="7128" y="292100"/>
                      <a:pt x="0" y="285552"/>
                      <a:pt x="0" y="276093"/>
                    </a:cubicBezTo>
                    <a:cubicBezTo>
                      <a:pt x="0" y="264451"/>
                      <a:pt x="7128" y="257175"/>
                      <a:pt x="16395" y="257175"/>
                    </a:cubicBezTo>
                    <a:close/>
                    <a:moveTo>
                      <a:pt x="16395" y="130175"/>
                    </a:moveTo>
                    <a:cubicBezTo>
                      <a:pt x="556694" y="130175"/>
                      <a:pt x="556694" y="130175"/>
                      <a:pt x="556694" y="130175"/>
                    </a:cubicBezTo>
                    <a:cubicBezTo>
                      <a:pt x="565960" y="130175"/>
                      <a:pt x="573088" y="137391"/>
                      <a:pt x="573088" y="145329"/>
                    </a:cubicBezTo>
                    <a:cubicBezTo>
                      <a:pt x="573088" y="153988"/>
                      <a:pt x="565960" y="161925"/>
                      <a:pt x="556694" y="161925"/>
                    </a:cubicBezTo>
                    <a:cubicBezTo>
                      <a:pt x="16395" y="161925"/>
                      <a:pt x="16395" y="161925"/>
                      <a:pt x="16395" y="161925"/>
                    </a:cubicBezTo>
                    <a:cubicBezTo>
                      <a:pt x="7128" y="161925"/>
                      <a:pt x="0" y="153988"/>
                      <a:pt x="0" y="145329"/>
                    </a:cubicBezTo>
                    <a:cubicBezTo>
                      <a:pt x="0" y="137391"/>
                      <a:pt x="7128" y="130175"/>
                      <a:pt x="16395" y="130175"/>
                    </a:cubicBezTo>
                    <a:close/>
                    <a:moveTo>
                      <a:pt x="16395" y="0"/>
                    </a:moveTo>
                    <a:cubicBezTo>
                      <a:pt x="556694" y="0"/>
                      <a:pt x="556694" y="0"/>
                      <a:pt x="556694" y="0"/>
                    </a:cubicBezTo>
                    <a:cubicBezTo>
                      <a:pt x="565960" y="0"/>
                      <a:pt x="573088" y="7056"/>
                      <a:pt x="573088" y="16228"/>
                    </a:cubicBezTo>
                    <a:cubicBezTo>
                      <a:pt x="573088" y="24695"/>
                      <a:pt x="565960" y="31750"/>
                      <a:pt x="556694" y="31750"/>
                    </a:cubicBezTo>
                    <a:cubicBezTo>
                      <a:pt x="16395" y="31750"/>
                      <a:pt x="16395" y="31750"/>
                      <a:pt x="16395" y="31750"/>
                    </a:cubicBezTo>
                    <a:cubicBezTo>
                      <a:pt x="7128" y="31750"/>
                      <a:pt x="0" y="24695"/>
                      <a:pt x="0" y="16228"/>
                    </a:cubicBezTo>
                    <a:cubicBezTo>
                      <a:pt x="0" y="7056"/>
                      <a:pt x="7128" y="0"/>
                      <a:pt x="1639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7" name="bcgBugs_Laptop">
            <a:extLst>
              <a:ext uri="{FF2B5EF4-FFF2-40B4-BE49-F238E27FC236}">
                <a16:creationId xmlns:a16="http://schemas.microsoft.com/office/drawing/2014/main" id="{C738A010-6110-436A-834A-A983A77A58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6499" y="3198417"/>
            <a:ext cx="1533301" cy="1534802"/>
            <a:chOff x="2818" y="1137"/>
            <a:chExt cx="2044" cy="2046"/>
          </a:xfrm>
        </p:grpSpPr>
        <p:sp>
          <p:nvSpPr>
            <p:cNvPr id="19" name="AutoShape 11">
              <a:extLst>
                <a:ext uri="{FF2B5EF4-FFF2-40B4-BE49-F238E27FC236}">
                  <a16:creationId xmlns:a16="http://schemas.microsoft.com/office/drawing/2014/main" id="{93FEF947-1072-4564-BB36-72C004200CE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F4006D7-2512-415D-83E8-D2C15D42D1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5" y="1514"/>
              <a:ext cx="1792" cy="1290"/>
            </a:xfrm>
            <a:custGeom>
              <a:avLst/>
              <a:gdLst>
                <a:gd name="T0" fmla="*/ 792 w 876"/>
                <a:gd name="T1" fmla="*/ 0 h 630"/>
                <a:gd name="T2" fmla="*/ 84 w 876"/>
                <a:gd name="T3" fmla="*/ 0 h 630"/>
                <a:gd name="T4" fmla="*/ 62 w 876"/>
                <a:gd name="T5" fmla="*/ 22 h 630"/>
                <a:gd name="T6" fmla="*/ 62 w 876"/>
                <a:gd name="T7" fmla="*/ 488 h 630"/>
                <a:gd name="T8" fmla="*/ 84 w 876"/>
                <a:gd name="T9" fmla="*/ 510 h 630"/>
                <a:gd name="T10" fmla="*/ 792 w 876"/>
                <a:gd name="T11" fmla="*/ 510 h 630"/>
                <a:gd name="T12" fmla="*/ 814 w 876"/>
                <a:gd name="T13" fmla="*/ 488 h 630"/>
                <a:gd name="T14" fmla="*/ 814 w 876"/>
                <a:gd name="T15" fmla="*/ 22 h 630"/>
                <a:gd name="T16" fmla="*/ 792 w 876"/>
                <a:gd name="T17" fmla="*/ 0 h 630"/>
                <a:gd name="T18" fmla="*/ 763 w 876"/>
                <a:gd name="T19" fmla="*/ 442 h 630"/>
                <a:gd name="T20" fmla="*/ 753 w 876"/>
                <a:gd name="T21" fmla="*/ 452 h 630"/>
                <a:gd name="T22" fmla="*/ 123 w 876"/>
                <a:gd name="T23" fmla="*/ 452 h 630"/>
                <a:gd name="T24" fmla="*/ 113 w 876"/>
                <a:gd name="T25" fmla="*/ 442 h 630"/>
                <a:gd name="T26" fmla="*/ 113 w 876"/>
                <a:gd name="T27" fmla="*/ 68 h 630"/>
                <a:gd name="T28" fmla="*/ 123 w 876"/>
                <a:gd name="T29" fmla="*/ 58 h 630"/>
                <a:gd name="T30" fmla="*/ 753 w 876"/>
                <a:gd name="T31" fmla="*/ 58 h 630"/>
                <a:gd name="T32" fmla="*/ 763 w 876"/>
                <a:gd name="T33" fmla="*/ 68 h 630"/>
                <a:gd name="T34" fmla="*/ 763 w 876"/>
                <a:gd name="T35" fmla="*/ 442 h 630"/>
                <a:gd name="T36" fmla="*/ 874 w 876"/>
                <a:gd name="T37" fmla="*/ 563 h 630"/>
                <a:gd name="T38" fmla="*/ 858 w 876"/>
                <a:gd name="T39" fmla="*/ 614 h 630"/>
                <a:gd name="T40" fmla="*/ 837 w 876"/>
                <a:gd name="T41" fmla="*/ 630 h 630"/>
                <a:gd name="T42" fmla="*/ 39 w 876"/>
                <a:gd name="T43" fmla="*/ 630 h 630"/>
                <a:gd name="T44" fmla="*/ 18 w 876"/>
                <a:gd name="T45" fmla="*/ 614 h 630"/>
                <a:gd name="T46" fmla="*/ 2 w 876"/>
                <a:gd name="T47" fmla="*/ 563 h 630"/>
                <a:gd name="T48" fmla="*/ 6 w 876"/>
                <a:gd name="T49" fmla="*/ 543 h 630"/>
                <a:gd name="T50" fmla="*/ 23 w 876"/>
                <a:gd name="T51" fmla="*/ 534 h 630"/>
                <a:gd name="T52" fmla="*/ 322 w 876"/>
                <a:gd name="T53" fmla="*/ 534 h 630"/>
                <a:gd name="T54" fmla="*/ 343 w 876"/>
                <a:gd name="T55" fmla="*/ 549 h 630"/>
                <a:gd name="T56" fmla="*/ 533 w 876"/>
                <a:gd name="T57" fmla="*/ 549 h 630"/>
                <a:gd name="T58" fmla="*/ 554 w 876"/>
                <a:gd name="T59" fmla="*/ 534 h 630"/>
                <a:gd name="T60" fmla="*/ 853 w 876"/>
                <a:gd name="T61" fmla="*/ 534 h 630"/>
                <a:gd name="T62" fmla="*/ 870 w 876"/>
                <a:gd name="T63" fmla="*/ 543 h 630"/>
                <a:gd name="T64" fmla="*/ 874 w 876"/>
                <a:gd name="T65" fmla="*/ 563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76" h="630">
                  <a:moveTo>
                    <a:pt x="792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72" y="0"/>
                    <a:pt x="62" y="10"/>
                    <a:pt x="62" y="22"/>
                  </a:cubicBezTo>
                  <a:cubicBezTo>
                    <a:pt x="62" y="488"/>
                    <a:pt x="62" y="488"/>
                    <a:pt x="62" y="488"/>
                  </a:cubicBezTo>
                  <a:cubicBezTo>
                    <a:pt x="62" y="500"/>
                    <a:pt x="72" y="510"/>
                    <a:pt x="84" y="510"/>
                  </a:cubicBezTo>
                  <a:cubicBezTo>
                    <a:pt x="792" y="510"/>
                    <a:pt x="792" y="510"/>
                    <a:pt x="792" y="510"/>
                  </a:cubicBezTo>
                  <a:cubicBezTo>
                    <a:pt x="804" y="510"/>
                    <a:pt x="814" y="500"/>
                    <a:pt x="814" y="488"/>
                  </a:cubicBezTo>
                  <a:cubicBezTo>
                    <a:pt x="814" y="22"/>
                    <a:pt x="814" y="22"/>
                    <a:pt x="814" y="22"/>
                  </a:cubicBezTo>
                  <a:cubicBezTo>
                    <a:pt x="814" y="10"/>
                    <a:pt x="804" y="0"/>
                    <a:pt x="792" y="0"/>
                  </a:cubicBezTo>
                  <a:close/>
                  <a:moveTo>
                    <a:pt x="763" y="442"/>
                  </a:moveTo>
                  <a:cubicBezTo>
                    <a:pt x="763" y="448"/>
                    <a:pt x="759" y="452"/>
                    <a:pt x="753" y="452"/>
                  </a:cubicBezTo>
                  <a:cubicBezTo>
                    <a:pt x="123" y="452"/>
                    <a:pt x="123" y="452"/>
                    <a:pt x="123" y="452"/>
                  </a:cubicBezTo>
                  <a:cubicBezTo>
                    <a:pt x="117" y="452"/>
                    <a:pt x="113" y="448"/>
                    <a:pt x="113" y="442"/>
                  </a:cubicBezTo>
                  <a:cubicBezTo>
                    <a:pt x="113" y="68"/>
                    <a:pt x="113" y="68"/>
                    <a:pt x="113" y="68"/>
                  </a:cubicBezTo>
                  <a:cubicBezTo>
                    <a:pt x="113" y="62"/>
                    <a:pt x="117" y="58"/>
                    <a:pt x="123" y="58"/>
                  </a:cubicBezTo>
                  <a:cubicBezTo>
                    <a:pt x="753" y="58"/>
                    <a:pt x="753" y="58"/>
                    <a:pt x="753" y="58"/>
                  </a:cubicBezTo>
                  <a:cubicBezTo>
                    <a:pt x="759" y="58"/>
                    <a:pt x="763" y="62"/>
                    <a:pt x="763" y="68"/>
                  </a:cubicBezTo>
                  <a:lnTo>
                    <a:pt x="763" y="442"/>
                  </a:lnTo>
                  <a:close/>
                  <a:moveTo>
                    <a:pt x="874" y="563"/>
                  </a:moveTo>
                  <a:cubicBezTo>
                    <a:pt x="858" y="614"/>
                    <a:pt x="858" y="614"/>
                    <a:pt x="858" y="614"/>
                  </a:cubicBezTo>
                  <a:cubicBezTo>
                    <a:pt x="855" y="623"/>
                    <a:pt x="846" y="630"/>
                    <a:pt x="837" y="630"/>
                  </a:cubicBezTo>
                  <a:cubicBezTo>
                    <a:pt x="39" y="630"/>
                    <a:pt x="39" y="630"/>
                    <a:pt x="39" y="630"/>
                  </a:cubicBezTo>
                  <a:cubicBezTo>
                    <a:pt x="30" y="630"/>
                    <a:pt x="21" y="623"/>
                    <a:pt x="18" y="614"/>
                  </a:cubicBezTo>
                  <a:cubicBezTo>
                    <a:pt x="2" y="563"/>
                    <a:pt x="2" y="563"/>
                    <a:pt x="2" y="563"/>
                  </a:cubicBezTo>
                  <a:cubicBezTo>
                    <a:pt x="0" y="556"/>
                    <a:pt x="1" y="549"/>
                    <a:pt x="6" y="543"/>
                  </a:cubicBezTo>
                  <a:cubicBezTo>
                    <a:pt x="10" y="538"/>
                    <a:pt x="16" y="534"/>
                    <a:pt x="23" y="534"/>
                  </a:cubicBezTo>
                  <a:cubicBezTo>
                    <a:pt x="322" y="534"/>
                    <a:pt x="322" y="534"/>
                    <a:pt x="322" y="534"/>
                  </a:cubicBezTo>
                  <a:cubicBezTo>
                    <a:pt x="331" y="534"/>
                    <a:pt x="340" y="541"/>
                    <a:pt x="343" y="549"/>
                  </a:cubicBezTo>
                  <a:cubicBezTo>
                    <a:pt x="533" y="549"/>
                    <a:pt x="533" y="549"/>
                    <a:pt x="533" y="549"/>
                  </a:cubicBezTo>
                  <a:cubicBezTo>
                    <a:pt x="536" y="541"/>
                    <a:pt x="545" y="534"/>
                    <a:pt x="554" y="534"/>
                  </a:cubicBezTo>
                  <a:cubicBezTo>
                    <a:pt x="853" y="534"/>
                    <a:pt x="853" y="534"/>
                    <a:pt x="853" y="534"/>
                  </a:cubicBezTo>
                  <a:cubicBezTo>
                    <a:pt x="860" y="534"/>
                    <a:pt x="866" y="538"/>
                    <a:pt x="870" y="543"/>
                  </a:cubicBezTo>
                  <a:cubicBezTo>
                    <a:pt x="875" y="549"/>
                    <a:pt x="876" y="556"/>
                    <a:pt x="874" y="5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" name="ee4pFootnotes">
            <a:extLst>
              <a:ext uri="{FF2B5EF4-FFF2-40B4-BE49-F238E27FC236}">
                <a16:creationId xmlns:a16="http://schemas.microsoft.com/office/drawing/2014/main" id="{E3C44A28-6455-44A2-A1F8-998CE0BBEC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3095" y="6395651"/>
            <a:ext cx="7143105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Markdown is a lightweight markup language that you can use to add formatting elements to plaintext text documents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  <a:hlinkClick r:id="rId7"/>
              </a:rPr>
              <a:t>Refer this link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552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STYLE_NAME" val="Rise Grid 16:9"/>
  <p:tag name="EE4P_STYLE_ID" val="39dcc26a-7131-49f4-a9eb-1c0521500c03"/>
  <p:tag name="EE4P_MASTERWIZARD_MARGINS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DVTaVd8hb6b1kRSdaZ3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WAixli0Adpsnkjav4Q9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X5xNumWWBR_ix_SOR0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QtrZwWvhvkh_4nn7NL7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hCTCyY5ka1NZJCIrPqt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ZejRRTtsaIvYfJ42lQG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WVDJk78UFFitwmr5RPz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ewG0rYLOysctow_UB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4jsvNT8gbl8S32XQdSJ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HtS22evfAbGXgwkm05f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.b3Q7WZMsowRJNC6Eg0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Bu3tQkmFpae3ot_Gu12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VzVRzB1wvdz2Uj1l5Iv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syDiPN9qq.TKtBYbKh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v3_Ti_SSPNpj_.p1vSc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sul38QGKe9qFkv.C_gV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uzkw_ap44LjO7GeemWp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rida0.WbMien2ohjlV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cTr36Fjl.eNcPcJyIyp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7pux3R5UKndXN65nG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dzGLfV9ma7bHQPVeYzp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dbaS93ZS_TstWnBvRyx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7pux3R5UKndXN65nGB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1AAodlnZEGoDgIuKxeo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pMDZ9tOf4deWbKEck.Y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SnCT5XTRhxsoiefGjcB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SnCT5XTRhxsoiefGjcB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SnCT5XTRhxsoiefGjcB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SnCT5XTRhxsoiefGjcB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HYCmNPJ1_60Y44y2nj2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pMDZ9tOf4deWbKEck.Y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pm0omy_vDNFr.4VBiY6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Nsodjj.QPTiuploe4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n3j2WYj2xgWh9uXaBp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sbL2kDu37Ie2iYfxDk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BMAoXpwp0MLMBSSfgU.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aXaohsYZv4amqbi7r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tJwQgKnHBBwz0zTi0C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LEoRbBiv9uxZhl_Ac9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hx7PPmrp8U2eb7SABr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GgjYdcUyh3ZbmavHKSG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KYKMF31Zrq0szm8uNM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DByHbBEFQKVdsPdqbn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awhgbDSRt80NqDCJRt6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VvcX.q1snGKHm2IXVu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J7E1Lfyjf3sK0zFEiI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1uhY_4hbsk0c6fn7YD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LtVUnszVJovAG30yYQ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8FSHYFfwxmnJFS1Wsn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.iYUyxGfzTf2UeLRiLd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ZlA1C3R1r3Xtko3AlVG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EBLybNeUsZEHrARQWxq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EBLybNeUsZEHrARQWxq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nviuvppfp_f9X8JqZoPQ"/>
</p:tagLst>
</file>

<file path=ppt/theme/theme1.xml><?xml version="1.0" encoding="utf-8"?>
<a:theme xmlns:a="http://schemas.openxmlformats.org/drawingml/2006/main" name="Nice Grid 16:9">
  <a:themeElements>
    <a:clrScheme name="Rise">
      <a:dk1>
        <a:srgbClr val="000000"/>
      </a:dk1>
      <a:lt1>
        <a:sysClr val="window" lastClr="FFFFFF"/>
      </a:lt1>
      <a:dk2>
        <a:srgbClr val="171D3C"/>
      </a:dk2>
      <a:lt2>
        <a:srgbClr val="F2F2F2"/>
      </a:lt2>
      <a:accent1>
        <a:srgbClr val="0F1327"/>
      </a:accent1>
      <a:accent2>
        <a:srgbClr val="2A356C"/>
      </a:accent2>
      <a:accent3>
        <a:srgbClr val="31DB89"/>
      </a:accent3>
      <a:accent4>
        <a:srgbClr val="394893"/>
      </a:accent4>
      <a:accent5>
        <a:srgbClr val="7F7F7F"/>
      </a:accent5>
      <a:accent6>
        <a:srgbClr val="FFFF00"/>
      </a:accent6>
      <a:hlink>
        <a:srgbClr val="1C9C5F"/>
      </a:hlink>
      <a:folHlink>
        <a:srgbClr val="1C9C5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1149</Words>
  <Application>Microsoft Office PowerPoint</Application>
  <PresentationFormat>Widescreen</PresentationFormat>
  <Paragraphs>174</Paragraphs>
  <Slides>28</Slides>
  <Notes>2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  <vt:variant>
        <vt:lpstr>Custom Shows</vt:lpstr>
      </vt:variant>
      <vt:variant>
        <vt:i4>1</vt:i4>
      </vt:variant>
    </vt:vector>
  </HeadingPairs>
  <TitlesOfParts>
    <vt:vector size="35" baseType="lpstr">
      <vt:lpstr>Arial</vt:lpstr>
      <vt:lpstr>Henderson BCG Sans</vt:lpstr>
      <vt:lpstr>Times New Roman</vt:lpstr>
      <vt:lpstr>Trebuchet MS</vt:lpstr>
      <vt:lpstr>Nice Grid 16:9</vt:lpstr>
      <vt:lpstr>think-cell Slide</vt:lpstr>
      <vt:lpstr>Create your own online portfolio using Github pages Career Development</vt:lpstr>
      <vt:lpstr>PowerPoint Presentation</vt:lpstr>
      <vt:lpstr>Where are we in the learning journey?</vt:lpstr>
      <vt:lpstr>Learning objectives</vt:lpstr>
      <vt:lpstr>Online portfolio</vt:lpstr>
      <vt:lpstr>Online portfolio:  Guidelines</vt:lpstr>
      <vt:lpstr>Online portfolio:  README </vt:lpstr>
      <vt:lpstr>Online portfolio:  Projects to showcase</vt:lpstr>
      <vt:lpstr>Online portfolio:  A website</vt:lpstr>
      <vt:lpstr>A sample portfolio</vt:lpstr>
      <vt:lpstr>Exercise: Create an online portfolio</vt:lpstr>
      <vt:lpstr>1. Create a new GitHub repo</vt:lpstr>
      <vt:lpstr>2. Click the repo settings tab at the far right of the list &amp; navigate to pages</vt:lpstr>
      <vt:lpstr>3. Switch the source from None to master branch or main</vt:lpstr>
      <vt:lpstr>4. Click the link at the top of the GitHub pages section to go to your new website</vt:lpstr>
      <vt:lpstr>5. Copy the template and paste it to your README.md</vt:lpstr>
      <vt:lpstr>6. Edit the template &amp; preview the changes</vt:lpstr>
      <vt:lpstr>Online Portfolio: Guidelines on how to edit the sections of your portfolio</vt:lpstr>
      <vt:lpstr>Online Portfolio: Sections</vt:lpstr>
      <vt:lpstr>CONTAC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oose a theme</vt:lpstr>
      <vt:lpstr>Create QR code</vt:lpstr>
      <vt:lpstr>Where to go from here?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Sharma, Jatan</cp:lastModifiedBy>
  <cp:revision>560</cp:revision>
  <cp:lastPrinted>1999-12-31T16:00:00Z</cp:lastPrinted>
  <dcterms:created xsi:type="dcterms:W3CDTF">2021-03-02T02:31:41Z</dcterms:created>
  <dcterms:modified xsi:type="dcterms:W3CDTF">2021-04-29T19:0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2601277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8.0.4</vt:lpwstr>
  </property>
  <property fmtid="{D5CDD505-2E9C-101B-9397-08002B2CF9AE}" pid="6" name="Template Name">
    <vt:lpwstr>16x9</vt:lpwstr>
  </property>
</Properties>
</file>